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2.xml" ContentType="application/vnd.openxmlformats-officedocument.theme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3.xml" ContentType="application/vnd.openxmlformats-officedocument.theme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4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1"/>
    <p:sldMasterId id="2147483703" r:id="rId2"/>
    <p:sldMasterId id="2147483738" r:id="rId3"/>
    <p:sldMasterId id="2147483748" r:id="rId4"/>
    <p:sldMasterId id="2147483757" r:id="rId5"/>
  </p:sldMasterIdLst>
  <p:notesMasterIdLst>
    <p:notesMasterId r:id="rId13"/>
  </p:notesMasterIdLst>
  <p:handoutMasterIdLst>
    <p:handoutMasterId r:id="rId14"/>
  </p:handoutMasterIdLst>
  <p:sldIdLst>
    <p:sldId id="602" r:id="rId6"/>
    <p:sldId id="608" r:id="rId7"/>
    <p:sldId id="611" r:id="rId8"/>
    <p:sldId id="604" r:id="rId9"/>
    <p:sldId id="605" r:id="rId10"/>
    <p:sldId id="607" r:id="rId11"/>
    <p:sldId id="610" r:id="rId12"/>
  </p:sldIdLst>
  <p:sldSz cx="12192000" cy="6858000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ean" initials="J" lastIdx="10" clrIdx="0">
    <p:extLst>
      <p:ext uri="{19B8F6BF-5375-455C-9EA6-DF929625EA0E}">
        <p15:presenceInfo xmlns:p15="http://schemas.microsoft.com/office/powerpoint/2012/main" userId="Je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29EE3"/>
    <a:srgbClr val="FF9900"/>
    <a:srgbClr val="019EE3"/>
    <a:srgbClr val="565555"/>
    <a:srgbClr val="FFCC01"/>
    <a:srgbClr val="AFCB00"/>
    <a:srgbClr val="EA4F52"/>
    <a:srgbClr val="0E3F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Style léger 2 - Accentuation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5476" autoAdjust="0"/>
    <p:restoredTop sz="85185" autoAdjust="0"/>
  </p:normalViewPr>
  <p:slideViewPr>
    <p:cSldViewPr snapToGrid="0" snapToObjects="1">
      <p:cViewPr varScale="1">
        <p:scale>
          <a:sx n="60" d="100"/>
          <a:sy n="60" d="100"/>
        </p:scale>
        <p:origin x="508" y="2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53" d="100"/>
          <a:sy n="53" d="100"/>
        </p:scale>
        <p:origin x="2080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commentAuthors" Target="commentAuthors.xml"/><Relationship Id="rId10" Type="http://schemas.openxmlformats.org/officeDocument/2006/relationships/slide" Target="slides/slide5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D648C3C-3D43-684A-BA55-84AE4D84D686}" type="slidenum">
              <a:rPr lang="fr-FR" smtClean="0"/>
              <a:t>‹N°›</a:t>
            </a:fld>
            <a:endParaRPr lang="fr-FR"/>
          </a:p>
        </p:txBody>
      </p:sp>
      <p:sp>
        <p:nvSpPr>
          <p:cNvPr id="6" name="Espace réservé de la date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07C9C1D-C807-4A4E-82DB-4A1079C0FBA8}" type="datetimeFigureOut">
              <a:rPr lang="fr-FR" smtClean="0"/>
              <a:t>20/05/20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3984527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’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C835B89-4206-D844-8065-0260AA887238}" type="datetimeFigureOut">
              <a:rPr lang="fr-FR" smtClean="0"/>
              <a:t>20/05/2020</a:t>
            </a:fld>
            <a:endParaRPr lang="fr-FR"/>
          </a:p>
        </p:txBody>
      </p:sp>
      <p:sp>
        <p:nvSpPr>
          <p:cNvPr id="4" name="Espace réservé de l’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632E84-5CF5-254F-B970-B456EC3E0BB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754341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32E84-5CF5-254F-B970-B456EC3E0BBC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18113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07EDCAF-2843-420D-99AE-5EEFD65402A5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50328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5A9FB8-2973-476F-AA8E-56940A7DDE95}" type="slidenum">
              <a:rPr kumimoji="0" lang="fr-FR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54539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32E84-5CF5-254F-B970-B456EC3E0BBC}" type="slidenum">
              <a:rPr lang="fr-FR" smtClean="0"/>
              <a:t>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614155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32E84-5CF5-254F-B970-B456EC3E0BBC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735988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32E84-5CF5-254F-B970-B456EC3E0BBC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543152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632E84-5CF5-254F-B970-B456EC3E0BBC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89194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7" Type="http://schemas.openxmlformats.org/officeDocument/2006/relationships/image" Target="../media/image20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6.png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couvertur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smtClean="0"/>
              <a:t>Présanse </a:t>
            </a:r>
            <a:r>
              <a:rPr lang="mr-IN" smtClean="0"/>
              <a:t>–</a:t>
            </a:r>
            <a:r>
              <a:rPr lang="fr-FR" smtClean="0"/>
              <a:t> Masque Powerpoint / JJ.MM.AAA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3935BB-9C05-C34E-BF02-B47196A5F45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-3524" y="18079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 smtClean="0"/>
          </a:p>
        </p:txBody>
      </p:sp>
      <p:pic>
        <p:nvPicPr>
          <p:cNvPr id="6" name="Image 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111495" y="-11902"/>
            <a:ext cx="12411457" cy="2271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379" y="549681"/>
            <a:ext cx="3249678" cy="1065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Espace réservé du texte 18"/>
          <p:cNvSpPr>
            <a:spLocks noGrp="1"/>
          </p:cNvSpPr>
          <p:nvPr>
            <p:ph type="body" sz="quarter" idx="13" hasCustomPrompt="1"/>
          </p:nvPr>
        </p:nvSpPr>
        <p:spPr>
          <a:xfrm>
            <a:off x="2841446" y="4370091"/>
            <a:ext cx="6505575" cy="425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Sous-titre de la présentation</a:t>
            </a:r>
            <a:endParaRPr lang="fr-FR" dirty="0">
              <a:solidFill>
                <a:schemeClr val="bg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3022600" y="3376613"/>
            <a:ext cx="6146800" cy="8302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>
                <a:ln>
                  <a:noFill/>
                </a:ln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RÉSENTATION</a:t>
            </a:r>
            <a:endParaRPr lang="fr-FR" dirty="0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 hasCustomPrompt="1"/>
          </p:nvPr>
        </p:nvSpPr>
        <p:spPr>
          <a:xfrm>
            <a:off x="2495239" y="6087532"/>
            <a:ext cx="6933005" cy="8096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Responsable : Prénom Nom, Fonction / JJ.MM.AAAA</a:t>
            </a:r>
          </a:p>
          <a:p>
            <a:r>
              <a:rPr lang="fr-FR" dirty="0" err="1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www.presanse.fr</a:t>
            </a:r>
            <a:endParaRPr lang="fr-FR" dirty="0">
              <a:solidFill>
                <a:schemeClr val="bg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668181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Délai  3">
            <a:extLst>
              <a:ext uri="{FF2B5EF4-FFF2-40B4-BE49-F238E27FC236}">
                <a16:creationId xmlns="" xmlns:a16="http://schemas.microsoft.com/office/drawing/2014/main" id="{7789E59B-B5F1-944E-A1D7-73C2A0265D3D}"/>
              </a:ext>
            </a:extLst>
          </p:cNvPr>
          <p:cNvSpPr/>
          <p:nvPr/>
        </p:nvSpPr>
        <p:spPr>
          <a:xfrm>
            <a:off x="0" y="2982831"/>
            <a:ext cx="2640392" cy="89233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2683 w 1496210"/>
              <a:gd name="connsiteY0" fmla="*/ 0 h 612648"/>
              <a:gd name="connsiteX1" fmla="*/ 1189886 w 1496210"/>
              <a:gd name="connsiteY1" fmla="*/ 0 h 612648"/>
              <a:gd name="connsiteX2" fmla="*/ 1496210 w 1496210"/>
              <a:gd name="connsiteY2" fmla="*/ 306324 h 612648"/>
              <a:gd name="connsiteX3" fmla="*/ 1189886 w 1496210"/>
              <a:gd name="connsiteY3" fmla="*/ 612648 h 612648"/>
              <a:gd name="connsiteX4" fmla="*/ 0 w 1496210"/>
              <a:gd name="connsiteY4" fmla="*/ 608696 h 612648"/>
              <a:gd name="connsiteX5" fmla="*/ 2683 w 1496210"/>
              <a:gd name="connsiteY5" fmla="*/ 0 h 612648"/>
              <a:gd name="connsiteX0" fmla="*/ 0 w 1493527"/>
              <a:gd name="connsiteY0" fmla="*/ 0 h 614197"/>
              <a:gd name="connsiteX1" fmla="*/ 1187203 w 1493527"/>
              <a:gd name="connsiteY1" fmla="*/ 0 h 614197"/>
              <a:gd name="connsiteX2" fmla="*/ 1493527 w 1493527"/>
              <a:gd name="connsiteY2" fmla="*/ 306324 h 614197"/>
              <a:gd name="connsiteX3" fmla="*/ 1187203 w 1493527"/>
              <a:gd name="connsiteY3" fmla="*/ 612648 h 614197"/>
              <a:gd name="connsiteX4" fmla="*/ 602407 w 1493527"/>
              <a:gd name="connsiteY4" fmla="*/ 614197 h 614197"/>
              <a:gd name="connsiteX5" fmla="*/ 0 w 1493527"/>
              <a:gd name="connsiteY5" fmla="*/ 0 h 614197"/>
              <a:gd name="connsiteX0" fmla="*/ 0 w 891187"/>
              <a:gd name="connsiteY0" fmla="*/ 0 h 614197"/>
              <a:gd name="connsiteX1" fmla="*/ 584863 w 891187"/>
              <a:gd name="connsiteY1" fmla="*/ 0 h 614197"/>
              <a:gd name="connsiteX2" fmla="*/ 891187 w 891187"/>
              <a:gd name="connsiteY2" fmla="*/ 306324 h 614197"/>
              <a:gd name="connsiteX3" fmla="*/ 584863 w 891187"/>
              <a:gd name="connsiteY3" fmla="*/ 612648 h 614197"/>
              <a:gd name="connsiteX4" fmla="*/ 67 w 891187"/>
              <a:gd name="connsiteY4" fmla="*/ 614197 h 614197"/>
              <a:gd name="connsiteX5" fmla="*/ 0 w 891187"/>
              <a:gd name="connsiteY5" fmla="*/ 0 h 614197"/>
              <a:gd name="connsiteX0" fmla="*/ 0 w 929333"/>
              <a:gd name="connsiteY0" fmla="*/ 0 h 614197"/>
              <a:gd name="connsiteX1" fmla="*/ 623009 w 929333"/>
              <a:gd name="connsiteY1" fmla="*/ 0 h 614197"/>
              <a:gd name="connsiteX2" fmla="*/ 929333 w 929333"/>
              <a:gd name="connsiteY2" fmla="*/ 306324 h 614197"/>
              <a:gd name="connsiteX3" fmla="*/ 623009 w 929333"/>
              <a:gd name="connsiteY3" fmla="*/ 612648 h 614197"/>
              <a:gd name="connsiteX4" fmla="*/ 38213 w 929333"/>
              <a:gd name="connsiteY4" fmla="*/ 614197 h 614197"/>
              <a:gd name="connsiteX5" fmla="*/ 0 w 929333"/>
              <a:gd name="connsiteY5" fmla="*/ 0 h 614197"/>
              <a:gd name="connsiteX0" fmla="*/ 0 w 929333"/>
              <a:gd name="connsiteY0" fmla="*/ 0 h 612648"/>
              <a:gd name="connsiteX1" fmla="*/ 623009 w 929333"/>
              <a:gd name="connsiteY1" fmla="*/ 0 h 612648"/>
              <a:gd name="connsiteX2" fmla="*/ 929333 w 929333"/>
              <a:gd name="connsiteY2" fmla="*/ 306324 h 612648"/>
              <a:gd name="connsiteX3" fmla="*/ 623009 w 929333"/>
              <a:gd name="connsiteY3" fmla="*/ 612648 h 612648"/>
              <a:gd name="connsiteX4" fmla="*/ 8870 w 929333"/>
              <a:gd name="connsiteY4" fmla="*/ 611263 h 612648"/>
              <a:gd name="connsiteX5" fmla="*/ 0 w 929333"/>
              <a:gd name="connsiteY5" fmla="*/ 0 h 612648"/>
              <a:gd name="connsiteX0" fmla="*/ 2867 w 932200"/>
              <a:gd name="connsiteY0" fmla="*/ 0 h 612648"/>
              <a:gd name="connsiteX1" fmla="*/ 625876 w 932200"/>
              <a:gd name="connsiteY1" fmla="*/ 0 h 612648"/>
              <a:gd name="connsiteX2" fmla="*/ 932200 w 932200"/>
              <a:gd name="connsiteY2" fmla="*/ 306324 h 612648"/>
              <a:gd name="connsiteX3" fmla="*/ 625876 w 932200"/>
              <a:gd name="connsiteY3" fmla="*/ 612648 h 612648"/>
              <a:gd name="connsiteX4" fmla="*/ 0 w 932200"/>
              <a:gd name="connsiteY4" fmla="*/ 611263 h 612648"/>
              <a:gd name="connsiteX5" fmla="*/ 2867 w 932200"/>
              <a:gd name="connsiteY5" fmla="*/ 0 h 612648"/>
              <a:gd name="connsiteX0" fmla="*/ 0 w 1827226"/>
              <a:gd name="connsiteY0" fmla="*/ 2934 h 612648"/>
              <a:gd name="connsiteX1" fmla="*/ 1520902 w 1827226"/>
              <a:gd name="connsiteY1" fmla="*/ 0 h 612648"/>
              <a:gd name="connsiteX2" fmla="*/ 1827226 w 1827226"/>
              <a:gd name="connsiteY2" fmla="*/ 306324 h 612648"/>
              <a:gd name="connsiteX3" fmla="*/ 1520902 w 1827226"/>
              <a:gd name="connsiteY3" fmla="*/ 612648 h 612648"/>
              <a:gd name="connsiteX4" fmla="*/ 895026 w 1827226"/>
              <a:gd name="connsiteY4" fmla="*/ 611263 h 612648"/>
              <a:gd name="connsiteX5" fmla="*/ 0 w 1827226"/>
              <a:gd name="connsiteY5" fmla="*/ 2934 h 612648"/>
              <a:gd name="connsiteX0" fmla="*/ 0 w 1827226"/>
              <a:gd name="connsiteY0" fmla="*/ 2934 h 617131"/>
              <a:gd name="connsiteX1" fmla="*/ 1520902 w 1827226"/>
              <a:gd name="connsiteY1" fmla="*/ 0 h 617131"/>
              <a:gd name="connsiteX2" fmla="*/ 1827226 w 1827226"/>
              <a:gd name="connsiteY2" fmla="*/ 306324 h 617131"/>
              <a:gd name="connsiteX3" fmla="*/ 1520902 w 1827226"/>
              <a:gd name="connsiteY3" fmla="*/ 612648 h 617131"/>
              <a:gd name="connsiteX4" fmla="*/ 5936 w 1827226"/>
              <a:gd name="connsiteY4" fmla="*/ 617131 h 617131"/>
              <a:gd name="connsiteX5" fmla="*/ 0 w 1827226"/>
              <a:gd name="connsiteY5" fmla="*/ 2934 h 617131"/>
              <a:gd name="connsiteX0" fmla="*/ 0 w 1827226"/>
              <a:gd name="connsiteY0" fmla="*/ 2934 h 612648"/>
              <a:gd name="connsiteX1" fmla="*/ 1520902 w 1827226"/>
              <a:gd name="connsiteY1" fmla="*/ 0 h 612648"/>
              <a:gd name="connsiteX2" fmla="*/ 1827226 w 1827226"/>
              <a:gd name="connsiteY2" fmla="*/ 306324 h 612648"/>
              <a:gd name="connsiteX3" fmla="*/ 1520902 w 1827226"/>
              <a:gd name="connsiteY3" fmla="*/ 612648 h 612648"/>
              <a:gd name="connsiteX4" fmla="*/ 67 w 1827226"/>
              <a:gd name="connsiteY4" fmla="*/ 611262 h 612648"/>
              <a:gd name="connsiteX5" fmla="*/ 0 w 1827226"/>
              <a:gd name="connsiteY5" fmla="*/ 2934 h 612648"/>
              <a:gd name="connsiteX0" fmla="*/ 0 w 1830160"/>
              <a:gd name="connsiteY0" fmla="*/ 0 h 618517"/>
              <a:gd name="connsiteX1" fmla="*/ 1523836 w 1830160"/>
              <a:gd name="connsiteY1" fmla="*/ 5869 h 618517"/>
              <a:gd name="connsiteX2" fmla="*/ 1830160 w 1830160"/>
              <a:gd name="connsiteY2" fmla="*/ 312193 h 618517"/>
              <a:gd name="connsiteX3" fmla="*/ 1523836 w 1830160"/>
              <a:gd name="connsiteY3" fmla="*/ 618517 h 618517"/>
              <a:gd name="connsiteX4" fmla="*/ 3001 w 1830160"/>
              <a:gd name="connsiteY4" fmla="*/ 617131 h 618517"/>
              <a:gd name="connsiteX5" fmla="*/ 0 w 1830160"/>
              <a:gd name="connsiteY5" fmla="*/ 0 h 61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0160" h="618517">
                <a:moveTo>
                  <a:pt x="0" y="0"/>
                </a:moveTo>
                <a:lnTo>
                  <a:pt x="1523836" y="5869"/>
                </a:lnTo>
                <a:cubicBezTo>
                  <a:pt x="1693014" y="5869"/>
                  <a:pt x="1830160" y="143015"/>
                  <a:pt x="1830160" y="312193"/>
                </a:cubicBezTo>
                <a:cubicBezTo>
                  <a:pt x="1830160" y="481371"/>
                  <a:pt x="1693014" y="618517"/>
                  <a:pt x="1523836" y="618517"/>
                </a:cubicBezTo>
                <a:lnTo>
                  <a:pt x="3001" y="617131"/>
                </a:lnTo>
                <a:cubicBezTo>
                  <a:pt x="2978" y="409648"/>
                  <a:pt x="23" y="207483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84000" tIns="4572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2933" b="1" dirty="0">
                <a:solidFill>
                  <a:srgbClr val="FFFFFF"/>
                </a:solidFill>
              </a:rPr>
              <a:t>Sommaire</a:t>
            </a:r>
          </a:p>
        </p:txBody>
      </p:sp>
      <p:sp>
        <p:nvSpPr>
          <p:cNvPr id="14" name="Forme en L 13">
            <a:extLst>
              <a:ext uri="{FF2B5EF4-FFF2-40B4-BE49-F238E27FC236}">
                <a16:creationId xmlns="" xmlns:a16="http://schemas.microsoft.com/office/drawing/2014/main" id="{7EC9CE6D-CA75-2E47-9FD9-64D8AAB1706E}"/>
              </a:ext>
            </a:extLst>
          </p:cNvPr>
          <p:cNvSpPr/>
          <p:nvPr/>
        </p:nvSpPr>
        <p:spPr>
          <a:xfrm rot="5400000">
            <a:off x="3830211" y="720608"/>
            <a:ext cx="341939" cy="341939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5" name="Forme en L 14">
            <a:extLst>
              <a:ext uri="{FF2B5EF4-FFF2-40B4-BE49-F238E27FC236}">
                <a16:creationId xmlns="" xmlns:a16="http://schemas.microsoft.com/office/drawing/2014/main" id="{6C2FC4B8-4EF9-5449-AB04-AFF8CB32487F}"/>
              </a:ext>
            </a:extLst>
          </p:cNvPr>
          <p:cNvSpPr/>
          <p:nvPr/>
        </p:nvSpPr>
        <p:spPr>
          <a:xfrm rot="16200000">
            <a:off x="8208235" y="5599545"/>
            <a:ext cx="341939" cy="341939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6" name="Délai  3">
            <a:extLst>
              <a:ext uri="{FF2B5EF4-FFF2-40B4-BE49-F238E27FC236}">
                <a16:creationId xmlns="" xmlns:a16="http://schemas.microsoft.com/office/drawing/2014/main" id="{2372F8D1-5464-6C42-B5A3-FE2AB23EF022}"/>
              </a:ext>
            </a:extLst>
          </p:cNvPr>
          <p:cNvSpPr/>
          <p:nvPr/>
        </p:nvSpPr>
        <p:spPr>
          <a:xfrm rot="10800000">
            <a:off x="9558431" y="2982831"/>
            <a:ext cx="2640392" cy="89233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2683 w 1496210"/>
              <a:gd name="connsiteY0" fmla="*/ 0 h 612648"/>
              <a:gd name="connsiteX1" fmla="*/ 1189886 w 1496210"/>
              <a:gd name="connsiteY1" fmla="*/ 0 h 612648"/>
              <a:gd name="connsiteX2" fmla="*/ 1496210 w 1496210"/>
              <a:gd name="connsiteY2" fmla="*/ 306324 h 612648"/>
              <a:gd name="connsiteX3" fmla="*/ 1189886 w 1496210"/>
              <a:gd name="connsiteY3" fmla="*/ 612648 h 612648"/>
              <a:gd name="connsiteX4" fmla="*/ 0 w 1496210"/>
              <a:gd name="connsiteY4" fmla="*/ 608696 h 612648"/>
              <a:gd name="connsiteX5" fmla="*/ 2683 w 1496210"/>
              <a:gd name="connsiteY5" fmla="*/ 0 h 612648"/>
              <a:gd name="connsiteX0" fmla="*/ 0 w 1493527"/>
              <a:gd name="connsiteY0" fmla="*/ 0 h 614197"/>
              <a:gd name="connsiteX1" fmla="*/ 1187203 w 1493527"/>
              <a:gd name="connsiteY1" fmla="*/ 0 h 614197"/>
              <a:gd name="connsiteX2" fmla="*/ 1493527 w 1493527"/>
              <a:gd name="connsiteY2" fmla="*/ 306324 h 614197"/>
              <a:gd name="connsiteX3" fmla="*/ 1187203 w 1493527"/>
              <a:gd name="connsiteY3" fmla="*/ 612648 h 614197"/>
              <a:gd name="connsiteX4" fmla="*/ 602407 w 1493527"/>
              <a:gd name="connsiteY4" fmla="*/ 614197 h 614197"/>
              <a:gd name="connsiteX5" fmla="*/ 0 w 1493527"/>
              <a:gd name="connsiteY5" fmla="*/ 0 h 614197"/>
              <a:gd name="connsiteX0" fmla="*/ 0 w 891187"/>
              <a:gd name="connsiteY0" fmla="*/ 0 h 614197"/>
              <a:gd name="connsiteX1" fmla="*/ 584863 w 891187"/>
              <a:gd name="connsiteY1" fmla="*/ 0 h 614197"/>
              <a:gd name="connsiteX2" fmla="*/ 891187 w 891187"/>
              <a:gd name="connsiteY2" fmla="*/ 306324 h 614197"/>
              <a:gd name="connsiteX3" fmla="*/ 584863 w 891187"/>
              <a:gd name="connsiteY3" fmla="*/ 612648 h 614197"/>
              <a:gd name="connsiteX4" fmla="*/ 67 w 891187"/>
              <a:gd name="connsiteY4" fmla="*/ 614197 h 614197"/>
              <a:gd name="connsiteX5" fmla="*/ 0 w 891187"/>
              <a:gd name="connsiteY5" fmla="*/ 0 h 614197"/>
              <a:gd name="connsiteX0" fmla="*/ 0 w 929333"/>
              <a:gd name="connsiteY0" fmla="*/ 0 h 614197"/>
              <a:gd name="connsiteX1" fmla="*/ 623009 w 929333"/>
              <a:gd name="connsiteY1" fmla="*/ 0 h 614197"/>
              <a:gd name="connsiteX2" fmla="*/ 929333 w 929333"/>
              <a:gd name="connsiteY2" fmla="*/ 306324 h 614197"/>
              <a:gd name="connsiteX3" fmla="*/ 623009 w 929333"/>
              <a:gd name="connsiteY3" fmla="*/ 612648 h 614197"/>
              <a:gd name="connsiteX4" fmla="*/ 38213 w 929333"/>
              <a:gd name="connsiteY4" fmla="*/ 614197 h 614197"/>
              <a:gd name="connsiteX5" fmla="*/ 0 w 929333"/>
              <a:gd name="connsiteY5" fmla="*/ 0 h 614197"/>
              <a:gd name="connsiteX0" fmla="*/ 0 w 929333"/>
              <a:gd name="connsiteY0" fmla="*/ 0 h 612648"/>
              <a:gd name="connsiteX1" fmla="*/ 623009 w 929333"/>
              <a:gd name="connsiteY1" fmla="*/ 0 h 612648"/>
              <a:gd name="connsiteX2" fmla="*/ 929333 w 929333"/>
              <a:gd name="connsiteY2" fmla="*/ 306324 h 612648"/>
              <a:gd name="connsiteX3" fmla="*/ 623009 w 929333"/>
              <a:gd name="connsiteY3" fmla="*/ 612648 h 612648"/>
              <a:gd name="connsiteX4" fmla="*/ 8870 w 929333"/>
              <a:gd name="connsiteY4" fmla="*/ 611263 h 612648"/>
              <a:gd name="connsiteX5" fmla="*/ 0 w 929333"/>
              <a:gd name="connsiteY5" fmla="*/ 0 h 612648"/>
              <a:gd name="connsiteX0" fmla="*/ 2867 w 932200"/>
              <a:gd name="connsiteY0" fmla="*/ 0 h 612648"/>
              <a:gd name="connsiteX1" fmla="*/ 625876 w 932200"/>
              <a:gd name="connsiteY1" fmla="*/ 0 h 612648"/>
              <a:gd name="connsiteX2" fmla="*/ 932200 w 932200"/>
              <a:gd name="connsiteY2" fmla="*/ 306324 h 612648"/>
              <a:gd name="connsiteX3" fmla="*/ 625876 w 932200"/>
              <a:gd name="connsiteY3" fmla="*/ 612648 h 612648"/>
              <a:gd name="connsiteX4" fmla="*/ 0 w 932200"/>
              <a:gd name="connsiteY4" fmla="*/ 611263 h 612648"/>
              <a:gd name="connsiteX5" fmla="*/ 2867 w 932200"/>
              <a:gd name="connsiteY5" fmla="*/ 0 h 612648"/>
              <a:gd name="connsiteX0" fmla="*/ 0 w 1827226"/>
              <a:gd name="connsiteY0" fmla="*/ 2934 h 612648"/>
              <a:gd name="connsiteX1" fmla="*/ 1520902 w 1827226"/>
              <a:gd name="connsiteY1" fmla="*/ 0 h 612648"/>
              <a:gd name="connsiteX2" fmla="*/ 1827226 w 1827226"/>
              <a:gd name="connsiteY2" fmla="*/ 306324 h 612648"/>
              <a:gd name="connsiteX3" fmla="*/ 1520902 w 1827226"/>
              <a:gd name="connsiteY3" fmla="*/ 612648 h 612648"/>
              <a:gd name="connsiteX4" fmla="*/ 895026 w 1827226"/>
              <a:gd name="connsiteY4" fmla="*/ 611263 h 612648"/>
              <a:gd name="connsiteX5" fmla="*/ 0 w 1827226"/>
              <a:gd name="connsiteY5" fmla="*/ 2934 h 612648"/>
              <a:gd name="connsiteX0" fmla="*/ 0 w 1827226"/>
              <a:gd name="connsiteY0" fmla="*/ 2934 h 617131"/>
              <a:gd name="connsiteX1" fmla="*/ 1520902 w 1827226"/>
              <a:gd name="connsiteY1" fmla="*/ 0 h 617131"/>
              <a:gd name="connsiteX2" fmla="*/ 1827226 w 1827226"/>
              <a:gd name="connsiteY2" fmla="*/ 306324 h 617131"/>
              <a:gd name="connsiteX3" fmla="*/ 1520902 w 1827226"/>
              <a:gd name="connsiteY3" fmla="*/ 612648 h 617131"/>
              <a:gd name="connsiteX4" fmla="*/ 5936 w 1827226"/>
              <a:gd name="connsiteY4" fmla="*/ 617131 h 617131"/>
              <a:gd name="connsiteX5" fmla="*/ 0 w 1827226"/>
              <a:gd name="connsiteY5" fmla="*/ 2934 h 617131"/>
              <a:gd name="connsiteX0" fmla="*/ 0 w 1827226"/>
              <a:gd name="connsiteY0" fmla="*/ 2934 h 612648"/>
              <a:gd name="connsiteX1" fmla="*/ 1520902 w 1827226"/>
              <a:gd name="connsiteY1" fmla="*/ 0 h 612648"/>
              <a:gd name="connsiteX2" fmla="*/ 1827226 w 1827226"/>
              <a:gd name="connsiteY2" fmla="*/ 306324 h 612648"/>
              <a:gd name="connsiteX3" fmla="*/ 1520902 w 1827226"/>
              <a:gd name="connsiteY3" fmla="*/ 612648 h 612648"/>
              <a:gd name="connsiteX4" fmla="*/ 67 w 1827226"/>
              <a:gd name="connsiteY4" fmla="*/ 611262 h 612648"/>
              <a:gd name="connsiteX5" fmla="*/ 0 w 1827226"/>
              <a:gd name="connsiteY5" fmla="*/ 2934 h 612648"/>
              <a:gd name="connsiteX0" fmla="*/ 0 w 1830160"/>
              <a:gd name="connsiteY0" fmla="*/ 0 h 618517"/>
              <a:gd name="connsiteX1" fmla="*/ 1523836 w 1830160"/>
              <a:gd name="connsiteY1" fmla="*/ 5869 h 618517"/>
              <a:gd name="connsiteX2" fmla="*/ 1830160 w 1830160"/>
              <a:gd name="connsiteY2" fmla="*/ 312193 h 618517"/>
              <a:gd name="connsiteX3" fmla="*/ 1523836 w 1830160"/>
              <a:gd name="connsiteY3" fmla="*/ 618517 h 618517"/>
              <a:gd name="connsiteX4" fmla="*/ 3001 w 1830160"/>
              <a:gd name="connsiteY4" fmla="*/ 617131 h 618517"/>
              <a:gd name="connsiteX5" fmla="*/ 0 w 1830160"/>
              <a:gd name="connsiteY5" fmla="*/ 0 h 6185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830160" h="618517">
                <a:moveTo>
                  <a:pt x="0" y="0"/>
                </a:moveTo>
                <a:lnTo>
                  <a:pt x="1523836" y="5869"/>
                </a:lnTo>
                <a:cubicBezTo>
                  <a:pt x="1693014" y="5869"/>
                  <a:pt x="1830160" y="143015"/>
                  <a:pt x="1830160" y="312193"/>
                </a:cubicBezTo>
                <a:cubicBezTo>
                  <a:pt x="1830160" y="481371"/>
                  <a:pt x="1693014" y="618517"/>
                  <a:pt x="1523836" y="618517"/>
                </a:cubicBezTo>
                <a:lnTo>
                  <a:pt x="3001" y="617131"/>
                </a:lnTo>
                <a:cubicBezTo>
                  <a:pt x="2978" y="409648"/>
                  <a:pt x="23" y="207483"/>
                  <a:pt x="0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2" name="Espace réservé du texte 12">
            <a:extLst>
              <a:ext uri="{FF2B5EF4-FFF2-40B4-BE49-F238E27FC236}">
                <a16:creationId xmlns="" xmlns:a16="http://schemas.microsoft.com/office/drawing/2014/main" id="{5498EC09-D200-448F-8116-0DDC3E8C324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222751" y="933451"/>
            <a:ext cx="3934883" cy="4851999"/>
          </a:xfrm>
        </p:spPr>
        <p:txBody>
          <a:bodyPr anchor="ctr"/>
          <a:lstStyle>
            <a:lvl1pPr marL="479988" marR="0" indent="-479988" algn="l" defTabSz="914332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867" b="0"/>
            </a:lvl1pPr>
          </a:lstStyle>
          <a:p>
            <a:pPr marL="457189" marR="0" lvl="0" indent="-457189" algn="l" defTabSz="91433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53125613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ommair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élai  3">
            <a:extLst>
              <a:ext uri="{FF2B5EF4-FFF2-40B4-BE49-F238E27FC236}">
                <a16:creationId xmlns="" xmlns:a16="http://schemas.microsoft.com/office/drawing/2014/main" id="{37254208-9BC4-7142-B98C-FB45FAC0C369}"/>
              </a:ext>
            </a:extLst>
          </p:cNvPr>
          <p:cNvSpPr/>
          <p:nvPr/>
        </p:nvSpPr>
        <p:spPr>
          <a:xfrm>
            <a:off x="-11842" y="2998007"/>
            <a:ext cx="1344895" cy="883872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2683 w 1496210"/>
              <a:gd name="connsiteY0" fmla="*/ 0 h 612648"/>
              <a:gd name="connsiteX1" fmla="*/ 1189886 w 1496210"/>
              <a:gd name="connsiteY1" fmla="*/ 0 h 612648"/>
              <a:gd name="connsiteX2" fmla="*/ 1496210 w 1496210"/>
              <a:gd name="connsiteY2" fmla="*/ 306324 h 612648"/>
              <a:gd name="connsiteX3" fmla="*/ 1189886 w 1496210"/>
              <a:gd name="connsiteY3" fmla="*/ 612648 h 612648"/>
              <a:gd name="connsiteX4" fmla="*/ 0 w 1496210"/>
              <a:gd name="connsiteY4" fmla="*/ 608696 h 612648"/>
              <a:gd name="connsiteX5" fmla="*/ 2683 w 1496210"/>
              <a:gd name="connsiteY5" fmla="*/ 0 h 612648"/>
              <a:gd name="connsiteX0" fmla="*/ 0 w 1493527"/>
              <a:gd name="connsiteY0" fmla="*/ 0 h 614197"/>
              <a:gd name="connsiteX1" fmla="*/ 1187203 w 1493527"/>
              <a:gd name="connsiteY1" fmla="*/ 0 h 614197"/>
              <a:gd name="connsiteX2" fmla="*/ 1493527 w 1493527"/>
              <a:gd name="connsiteY2" fmla="*/ 306324 h 614197"/>
              <a:gd name="connsiteX3" fmla="*/ 1187203 w 1493527"/>
              <a:gd name="connsiteY3" fmla="*/ 612648 h 614197"/>
              <a:gd name="connsiteX4" fmla="*/ 602407 w 1493527"/>
              <a:gd name="connsiteY4" fmla="*/ 614197 h 614197"/>
              <a:gd name="connsiteX5" fmla="*/ 0 w 1493527"/>
              <a:gd name="connsiteY5" fmla="*/ 0 h 614197"/>
              <a:gd name="connsiteX0" fmla="*/ 0 w 891187"/>
              <a:gd name="connsiteY0" fmla="*/ 0 h 614197"/>
              <a:gd name="connsiteX1" fmla="*/ 584863 w 891187"/>
              <a:gd name="connsiteY1" fmla="*/ 0 h 614197"/>
              <a:gd name="connsiteX2" fmla="*/ 891187 w 891187"/>
              <a:gd name="connsiteY2" fmla="*/ 306324 h 614197"/>
              <a:gd name="connsiteX3" fmla="*/ 584863 w 891187"/>
              <a:gd name="connsiteY3" fmla="*/ 612648 h 614197"/>
              <a:gd name="connsiteX4" fmla="*/ 67 w 891187"/>
              <a:gd name="connsiteY4" fmla="*/ 614197 h 614197"/>
              <a:gd name="connsiteX5" fmla="*/ 0 w 891187"/>
              <a:gd name="connsiteY5" fmla="*/ 0 h 614197"/>
              <a:gd name="connsiteX0" fmla="*/ 0 w 929333"/>
              <a:gd name="connsiteY0" fmla="*/ 0 h 614197"/>
              <a:gd name="connsiteX1" fmla="*/ 623009 w 929333"/>
              <a:gd name="connsiteY1" fmla="*/ 0 h 614197"/>
              <a:gd name="connsiteX2" fmla="*/ 929333 w 929333"/>
              <a:gd name="connsiteY2" fmla="*/ 306324 h 614197"/>
              <a:gd name="connsiteX3" fmla="*/ 623009 w 929333"/>
              <a:gd name="connsiteY3" fmla="*/ 612648 h 614197"/>
              <a:gd name="connsiteX4" fmla="*/ 38213 w 929333"/>
              <a:gd name="connsiteY4" fmla="*/ 614197 h 614197"/>
              <a:gd name="connsiteX5" fmla="*/ 0 w 929333"/>
              <a:gd name="connsiteY5" fmla="*/ 0 h 614197"/>
              <a:gd name="connsiteX0" fmla="*/ 0 w 929333"/>
              <a:gd name="connsiteY0" fmla="*/ 0 h 612648"/>
              <a:gd name="connsiteX1" fmla="*/ 623009 w 929333"/>
              <a:gd name="connsiteY1" fmla="*/ 0 h 612648"/>
              <a:gd name="connsiteX2" fmla="*/ 929333 w 929333"/>
              <a:gd name="connsiteY2" fmla="*/ 306324 h 612648"/>
              <a:gd name="connsiteX3" fmla="*/ 623009 w 929333"/>
              <a:gd name="connsiteY3" fmla="*/ 612648 h 612648"/>
              <a:gd name="connsiteX4" fmla="*/ 8870 w 929333"/>
              <a:gd name="connsiteY4" fmla="*/ 611263 h 612648"/>
              <a:gd name="connsiteX5" fmla="*/ 0 w 929333"/>
              <a:gd name="connsiteY5" fmla="*/ 0 h 612648"/>
              <a:gd name="connsiteX0" fmla="*/ 2867 w 932200"/>
              <a:gd name="connsiteY0" fmla="*/ 0 h 612648"/>
              <a:gd name="connsiteX1" fmla="*/ 625876 w 932200"/>
              <a:gd name="connsiteY1" fmla="*/ 0 h 612648"/>
              <a:gd name="connsiteX2" fmla="*/ 932200 w 932200"/>
              <a:gd name="connsiteY2" fmla="*/ 306324 h 612648"/>
              <a:gd name="connsiteX3" fmla="*/ 625876 w 932200"/>
              <a:gd name="connsiteY3" fmla="*/ 612648 h 612648"/>
              <a:gd name="connsiteX4" fmla="*/ 0 w 932200"/>
              <a:gd name="connsiteY4" fmla="*/ 611263 h 612648"/>
              <a:gd name="connsiteX5" fmla="*/ 2867 w 932200"/>
              <a:gd name="connsiteY5" fmla="*/ 0 h 6126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2200" h="612648">
                <a:moveTo>
                  <a:pt x="2867" y="0"/>
                </a:moveTo>
                <a:lnTo>
                  <a:pt x="625876" y="0"/>
                </a:lnTo>
                <a:cubicBezTo>
                  <a:pt x="795054" y="0"/>
                  <a:pt x="932200" y="137146"/>
                  <a:pt x="932200" y="306324"/>
                </a:cubicBezTo>
                <a:cubicBezTo>
                  <a:pt x="932200" y="475502"/>
                  <a:pt x="795054" y="612648"/>
                  <a:pt x="625876" y="612648"/>
                </a:cubicBezTo>
                <a:lnTo>
                  <a:pt x="0" y="611263"/>
                </a:lnTo>
                <a:cubicBezTo>
                  <a:pt x="-23" y="403780"/>
                  <a:pt x="2890" y="207483"/>
                  <a:pt x="2867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1" name="Forme en L 10">
            <a:extLst>
              <a:ext uri="{FF2B5EF4-FFF2-40B4-BE49-F238E27FC236}">
                <a16:creationId xmlns="" xmlns:a16="http://schemas.microsoft.com/office/drawing/2014/main" id="{0C1B67DC-7CC8-234D-8CE9-502F16126621}"/>
              </a:ext>
            </a:extLst>
          </p:cNvPr>
          <p:cNvSpPr/>
          <p:nvPr/>
        </p:nvSpPr>
        <p:spPr>
          <a:xfrm rot="5400000">
            <a:off x="1294605" y="680411"/>
            <a:ext cx="341939" cy="341939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2" name="Forme en L 11">
            <a:extLst>
              <a:ext uri="{FF2B5EF4-FFF2-40B4-BE49-F238E27FC236}">
                <a16:creationId xmlns="" xmlns:a16="http://schemas.microsoft.com/office/drawing/2014/main" id="{6C448BA8-5466-244C-9516-A8316B73C9B9}"/>
              </a:ext>
            </a:extLst>
          </p:cNvPr>
          <p:cNvSpPr/>
          <p:nvPr/>
        </p:nvSpPr>
        <p:spPr>
          <a:xfrm rot="16200000">
            <a:off x="6232596" y="5323427"/>
            <a:ext cx="341939" cy="341939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="" xmlns:a16="http://schemas.microsoft.com/office/drawing/2014/main" id="{F03E9446-C7CF-8840-AF5D-8E318B667EEE}"/>
              </a:ext>
            </a:extLst>
          </p:cNvPr>
          <p:cNvSpPr txBox="1"/>
          <p:nvPr/>
        </p:nvSpPr>
        <p:spPr>
          <a:xfrm rot="16200000">
            <a:off x="-673790" y="2594152"/>
            <a:ext cx="4968889" cy="109054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pPr algn="ctr"/>
            <a:r>
              <a:rPr lang="fr-FR" sz="4800" spc="1867" dirty="0">
                <a:solidFill>
                  <a:srgbClr val="59108D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OMMAIRE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="" xmlns:a16="http://schemas.microsoft.com/office/drawing/2014/main" id="{4BC56D7B-E868-C74F-92D0-A2A76DD86B01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 bwMode="gray">
          <a:xfrm>
            <a:off x="8069894" y="-2311"/>
            <a:ext cx="2583001" cy="5856824"/>
          </a:xfrm>
          <a:custGeom>
            <a:avLst/>
            <a:gdLst>
              <a:gd name="connsiteX0" fmla="*/ 0 w 1924461"/>
              <a:gd name="connsiteY0" fmla="*/ 0 h 1994715"/>
              <a:gd name="connsiteX1" fmla="*/ 1924461 w 1924461"/>
              <a:gd name="connsiteY1" fmla="*/ 0 h 1994715"/>
              <a:gd name="connsiteX2" fmla="*/ 1924461 w 1924461"/>
              <a:gd name="connsiteY2" fmla="*/ 0 h 1994715"/>
              <a:gd name="connsiteX3" fmla="*/ 1924461 w 1924461"/>
              <a:gd name="connsiteY3" fmla="*/ 1032485 h 1994715"/>
              <a:gd name="connsiteX4" fmla="*/ 962230 w 1924461"/>
              <a:gd name="connsiteY4" fmla="*/ 1994716 h 1994715"/>
              <a:gd name="connsiteX5" fmla="*/ 962231 w 1924461"/>
              <a:gd name="connsiteY5" fmla="*/ 1994715 h 1994715"/>
              <a:gd name="connsiteX6" fmla="*/ 0 w 1924461"/>
              <a:gd name="connsiteY6" fmla="*/ 1032484 h 1994715"/>
              <a:gd name="connsiteX7" fmla="*/ 0 w 1924461"/>
              <a:gd name="connsiteY7" fmla="*/ 0 h 1994715"/>
              <a:gd name="connsiteX8" fmla="*/ 0 w 1924461"/>
              <a:gd name="connsiteY8" fmla="*/ 0 h 1994715"/>
              <a:gd name="connsiteX0" fmla="*/ 0 w 1937250"/>
              <a:gd name="connsiteY0" fmla="*/ 0 h 3081765"/>
              <a:gd name="connsiteX1" fmla="*/ 1937250 w 1937250"/>
              <a:gd name="connsiteY1" fmla="*/ 1087049 h 3081765"/>
              <a:gd name="connsiteX2" fmla="*/ 1937250 w 1937250"/>
              <a:gd name="connsiteY2" fmla="*/ 1087049 h 3081765"/>
              <a:gd name="connsiteX3" fmla="*/ 1937250 w 1937250"/>
              <a:gd name="connsiteY3" fmla="*/ 2119534 h 3081765"/>
              <a:gd name="connsiteX4" fmla="*/ 975019 w 1937250"/>
              <a:gd name="connsiteY4" fmla="*/ 3081765 h 3081765"/>
              <a:gd name="connsiteX5" fmla="*/ 975020 w 1937250"/>
              <a:gd name="connsiteY5" fmla="*/ 3081764 h 3081765"/>
              <a:gd name="connsiteX6" fmla="*/ 12789 w 1937250"/>
              <a:gd name="connsiteY6" fmla="*/ 2119533 h 3081765"/>
              <a:gd name="connsiteX7" fmla="*/ 12789 w 1937250"/>
              <a:gd name="connsiteY7" fmla="*/ 1087049 h 3081765"/>
              <a:gd name="connsiteX8" fmla="*/ 0 w 1937250"/>
              <a:gd name="connsiteY8" fmla="*/ 0 h 3081765"/>
              <a:gd name="connsiteX0" fmla="*/ 0 w 1956434"/>
              <a:gd name="connsiteY0" fmla="*/ 0 h 4399012"/>
              <a:gd name="connsiteX1" fmla="*/ 1956434 w 1956434"/>
              <a:gd name="connsiteY1" fmla="*/ 2404296 h 4399012"/>
              <a:gd name="connsiteX2" fmla="*/ 1956434 w 1956434"/>
              <a:gd name="connsiteY2" fmla="*/ 2404296 h 4399012"/>
              <a:gd name="connsiteX3" fmla="*/ 1956434 w 1956434"/>
              <a:gd name="connsiteY3" fmla="*/ 3436781 h 4399012"/>
              <a:gd name="connsiteX4" fmla="*/ 994203 w 1956434"/>
              <a:gd name="connsiteY4" fmla="*/ 4399012 h 4399012"/>
              <a:gd name="connsiteX5" fmla="*/ 994204 w 1956434"/>
              <a:gd name="connsiteY5" fmla="*/ 4399011 h 4399012"/>
              <a:gd name="connsiteX6" fmla="*/ 31973 w 1956434"/>
              <a:gd name="connsiteY6" fmla="*/ 3436780 h 4399012"/>
              <a:gd name="connsiteX7" fmla="*/ 31973 w 1956434"/>
              <a:gd name="connsiteY7" fmla="*/ 2404296 h 4399012"/>
              <a:gd name="connsiteX8" fmla="*/ 0 w 1956434"/>
              <a:gd name="connsiteY8" fmla="*/ 0 h 4399012"/>
              <a:gd name="connsiteX0" fmla="*/ 0 w 1937251"/>
              <a:gd name="connsiteY0" fmla="*/ 0 h 4392618"/>
              <a:gd name="connsiteX1" fmla="*/ 1937251 w 1937251"/>
              <a:gd name="connsiteY1" fmla="*/ 2397902 h 4392618"/>
              <a:gd name="connsiteX2" fmla="*/ 1937251 w 1937251"/>
              <a:gd name="connsiteY2" fmla="*/ 2397902 h 4392618"/>
              <a:gd name="connsiteX3" fmla="*/ 1937251 w 1937251"/>
              <a:gd name="connsiteY3" fmla="*/ 3430387 h 4392618"/>
              <a:gd name="connsiteX4" fmla="*/ 975020 w 1937251"/>
              <a:gd name="connsiteY4" fmla="*/ 4392618 h 4392618"/>
              <a:gd name="connsiteX5" fmla="*/ 975021 w 1937251"/>
              <a:gd name="connsiteY5" fmla="*/ 4392617 h 4392618"/>
              <a:gd name="connsiteX6" fmla="*/ 12790 w 1937251"/>
              <a:gd name="connsiteY6" fmla="*/ 3430386 h 4392618"/>
              <a:gd name="connsiteX7" fmla="*/ 12790 w 1937251"/>
              <a:gd name="connsiteY7" fmla="*/ 2397902 h 4392618"/>
              <a:gd name="connsiteX8" fmla="*/ 0 w 1937251"/>
              <a:gd name="connsiteY8" fmla="*/ 0 h 4392618"/>
              <a:gd name="connsiteX0" fmla="*/ 0 w 1937251"/>
              <a:gd name="connsiteY0" fmla="*/ 0 h 4392618"/>
              <a:gd name="connsiteX1" fmla="*/ 1937251 w 1937251"/>
              <a:gd name="connsiteY1" fmla="*/ 2397902 h 4392618"/>
              <a:gd name="connsiteX2" fmla="*/ 1924462 w 1937251"/>
              <a:gd name="connsiteY2" fmla="*/ 19183 h 4392618"/>
              <a:gd name="connsiteX3" fmla="*/ 1937251 w 1937251"/>
              <a:gd name="connsiteY3" fmla="*/ 3430387 h 4392618"/>
              <a:gd name="connsiteX4" fmla="*/ 975020 w 1937251"/>
              <a:gd name="connsiteY4" fmla="*/ 4392618 h 4392618"/>
              <a:gd name="connsiteX5" fmla="*/ 975021 w 1937251"/>
              <a:gd name="connsiteY5" fmla="*/ 4392617 h 4392618"/>
              <a:gd name="connsiteX6" fmla="*/ 12790 w 1937251"/>
              <a:gd name="connsiteY6" fmla="*/ 3430386 h 4392618"/>
              <a:gd name="connsiteX7" fmla="*/ 12790 w 1937251"/>
              <a:gd name="connsiteY7" fmla="*/ 2397902 h 4392618"/>
              <a:gd name="connsiteX8" fmla="*/ 0 w 1937251"/>
              <a:gd name="connsiteY8" fmla="*/ 0 h 4392618"/>
              <a:gd name="connsiteX0" fmla="*/ 0 w 1937251"/>
              <a:gd name="connsiteY0" fmla="*/ 0 h 4392618"/>
              <a:gd name="connsiteX1" fmla="*/ 1790179 w 1937251"/>
              <a:gd name="connsiteY1" fmla="*/ 6395 h 4392618"/>
              <a:gd name="connsiteX2" fmla="*/ 1924462 w 1937251"/>
              <a:gd name="connsiteY2" fmla="*/ 19183 h 4392618"/>
              <a:gd name="connsiteX3" fmla="*/ 1937251 w 1937251"/>
              <a:gd name="connsiteY3" fmla="*/ 3430387 h 4392618"/>
              <a:gd name="connsiteX4" fmla="*/ 975020 w 1937251"/>
              <a:gd name="connsiteY4" fmla="*/ 4392618 h 4392618"/>
              <a:gd name="connsiteX5" fmla="*/ 975021 w 1937251"/>
              <a:gd name="connsiteY5" fmla="*/ 4392617 h 4392618"/>
              <a:gd name="connsiteX6" fmla="*/ 12790 w 1937251"/>
              <a:gd name="connsiteY6" fmla="*/ 3430386 h 4392618"/>
              <a:gd name="connsiteX7" fmla="*/ 12790 w 1937251"/>
              <a:gd name="connsiteY7" fmla="*/ 2397902 h 4392618"/>
              <a:gd name="connsiteX8" fmla="*/ 0 w 1937251"/>
              <a:gd name="connsiteY8" fmla="*/ 0 h 4392618"/>
              <a:gd name="connsiteX0" fmla="*/ 0 w 1937251"/>
              <a:gd name="connsiteY0" fmla="*/ 0 h 4392618"/>
              <a:gd name="connsiteX1" fmla="*/ 1790179 w 1937251"/>
              <a:gd name="connsiteY1" fmla="*/ 6395 h 4392618"/>
              <a:gd name="connsiteX2" fmla="*/ 1924462 w 1937251"/>
              <a:gd name="connsiteY2" fmla="*/ 25577 h 4392618"/>
              <a:gd name="connsiteX3" fmla="*/ 1937251 w 1937251"/>
              <a:gd name="connsiteY3" fmla="*/ 3430387 h 4392618"/>
              <a:gd name="connsiteX4" fmla="*/ 975020 w 1937251"/>
              <a:gd name="connsiteY4" fmla="*/ 4392618 h 4392618"/>
              <a:gd name="connsiteX5" fmla="*/ 975021 w 1937251"/>
              <a:gd name="connsiteY5" fmla="*/ 4392617 h 4392618"/>
              <a:gd name="connsiteX6" fmla="*/ 12790 w 1937251"/>
              <a:gd name="connsiteY6" fmla="*/ 3430386 h 4392618"/>
              <a:gd name="connsiteX7" fmla="*/ 12790 w 1937251"/>
              <a:gd name="connsiteY7" fmla="*/ 2397902 h 4392618"/>
              <a:gd name="connsiteX8" fmla="*/ 0 w 1937251"/>
              <a:gd name="connsiteY8" fmla="*/ 0 h 4392618"/>
              <a:gd name="connsiteX0" fmla="*/ 0 w 1937251"/>
              <a:gd name="connsiteY0" fmla="*/ 0 h 4392618"/>
              <a:gd name="connsiteX1" fmla="*/ 1790179 w 1937251"/>
              <a:gd name="connsiteY1" fmla="*/ 6395 h 4392618"/>
              <a:gd name="connsiteX2" fmla="*/ 1924462 w 1937251"/>
              <a:gd name="connsiteY2" fmla="*/ 6393 h 4392618"/>
              <a:gd name="connsiteX3" fmla="*/ 1937251 w 1937251"/>
              <a:gd name="connsiteY3" fmla="*/ 3430387 h 4392618"/>
              <a:gd name="connsiteX4" fmla="*/ 975020 w 1937251"/>
              <a:gd name="connsiteY4" fmla="*/ 4392618 h 4392618"/>
              <a:gd name="connsiteX5" fmla="*/ 975021 w 1937251"/>
              <a:gd name="connsiteY5" fmla="*/ 4392617 h 4392618"/>
              <a:gd name="connsiteX6" fmla="*/ 12790 w 1937251"/>
              <a:gd name="connsiteY6" fmla="*/ 3430386 h 4392618"/>
              <a:gd name="connsiteX7" fmla="*/ 12790 w 1937251"/>
              <a:gd name="connsiteY7" fmla="*/ 2397902 h 4392618"/>
              <a:gd name="connsiteX8" fmla="*/ 0 w 1937251"/>
              <a:gd name="connsiteY8" fmla="*/ 0 h 43926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937251" h="4392618">
                <a:moveTo>
                  <a:pt x="0" y="0"/>
                </a:moveTo>
                <a:lnTo>
                  <a:pt x="1790179" y="6395"/>
                </a:lnTo>
                <a:lnTo>
                  <a:pt x="1924462" y="6393"/>
                </a:lnTo>
                <a:lnTo>
                  <a:pt x="1937251" y="3430387"/>
                </a:lnTo>
                <a:cubicBezTo>
                  <a:pt x="1937251" y="3961813"/>
                  <a:pt x="1506446" y="4392618"/>
                  <a:pt x="975020" y="4392618"/>
                </a:cubicBezTo>
                <a:lnTo>
                  <a:pt x="975021" y="4392617"/>
                </a:lnTo>
                <a:cubicBezTo>
                  <a:pt x="443595" y="4392617"/>
                  <a:pt x="12790" y="3961812"/>
                  <a:pt x="12790" y="3430386"/>
                </a:cubicBezTo>
                <a:lnTo>
                  <a:pt x="12790" y="2397902"/>
                </a:lnTo>
                <a:cubicBezTo>
                  <a:pt x="8527" y="1598601"/>
                  <a:pt x="4263" y="799301"/>
                  <a:pt x="0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algn="ctr">
              <a:defRPr sz="1333" b="0"/>
            </a:lvl1pPr>
          </a:lstStyle>
          <a:p>
            <a:r>
              <a:rPr lang="fr-FR" dirty="0"/>
              <a:t>Image</a:t>
            </a:r>
          </a:p>
        </p:txBody>
      </p:sp>
      <p:sp>
        <p:nvSpPr>
          <p:cNvPr id="13" name="Espace réservé du texte 12">
            <a:extLst>
              <a:ext uri="{FF2B5EF4-FFF2-40B4-BE49-F238E27FC236}">
                <a16:creationId xmlns="" xmlns:a16="http://schemas.microsoft.com/office/drawing/2014/main" id="{4C857A18-9087-4CE9-8D48-C060F21DEAB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2497155" y="933452"/>
            <a:ext cx="3838029" cy="4656000"/>
          </a:xfrm>
        </p:spPr>
        <p:txBody>
          <a:bodyPr anchor="ctr"/>
          <a:lstStyle>
            <a:lvl1pPr marL="479988" marR="0" indent="-479988" algn="l" defTabSz="914332" rtl="0" eaLnBrk="1" fontAlgn="auto" latinLnBrk="0" hangingPunct="1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 sz="1867" b="0"/>
            </a:lvl1pPr>
          </a:lstStyle>
          <a:p>
            <a:pPr marL="457189" marR="0" lvl="0" indent="-457189" algn="l" defTabSz="91433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16097189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+ Intr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3">
            <a:extLst>
              <a:ext uri="{FF2B5EF4-FFF2-40B4-BE49-F238E27FC236}">
                <a16:creationId xmlns="" xmlns:a16="http://schemas.microsoft.com/office/drawing/2014/main" id="{BFB8179C-9A06-8245-941E-FC9599CC56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" y="740703"/>
            <a:ext cx="5304809" cy="4328831"/>
          </a:xfrm>
          <a:custGeom>
            <a:avLst/>
            <a:gdLst>
              <a:gd name="connsiteX0" fmla="*/ 0 w 3007840"/>
              <a:gd name="connsiteY0" fmla="*/ 0 h 3240360"/>
              <a:gd name="connsiteX1" fmla="*/ 1503920 w 3007840"/>
              <a:gd name="connsiteY1" fmla="*/ 0 h 3240360"/>
              <a:gd name="connsiteX2" fmla="*/ 3007840 w 3007840"/>
              <a:gd name="connsiteY2" fmla="*/ 1620180 h 3240360"/>
              <a:gd name="connsiteX3" fmla="*/ 1503920 w 3007840"/>
              <a:gd name="connsiteY3" fmla="*/ 3240360 h 3240360"/>
              <a:gd name="connsiteX4" fmla="*/ 0 w 3007840"/>
              <a:gd name="connsiteY4" fmla="*/ 3240360 h 3240360"/>
              <a:gd name="connsiteX5" fmla="*/ 0 w 3007840"/>
              <a:gd name="connsiteY5" fmla="*/ 0 h 3240360"/>
              <a:gd name="connsiteX0" fmla="*/ 0 w 3978607"/>
              <a:gd name="connsiteY0" fmla="*/ 25052 h 3240360"/>
              <a:gd name="connsiteX1" fmla="*/ 2474687 w 3978607"/>
              <a:gd name="connsiteY1" fmla="*/ 0 h 3240360"/>
              <a:gd name="connsiteX2" fmla="*/ 3978607 w 3978607"/>
              <a:gd name="connsiteY2" fmla="*/ 1620180 h 3240360"/>
              <a:gd name="connsiteX3" fmla="*/ 2474687 w 3978607"/>
              <a:gd name="connsiteY3" fmla="*/ 3240360 h 3240360"/>
              <a:gd name="connsiteX4" fmla="*/ 970767 w 3978607"/>
              <a:gd name="connsiteY4" fmla="*/ 3240360 h 3240360"/>
              <a:gd name="connsiteX5" fmla="*/ 0 w 3978607"/>
              <a:gd name="connsiteY5" fmla="*/ 25052 h 3240360"/>
              <a:gd name="connsiteX0" fmla="*/ 0 w 3978607"/>
              <a:gd name="connsiteY0" fmla="*/ 25052 h 3246623"/>
              <a:gd name="connsiteX1" fmla="*/ 2474687 w 3978607"/>
              <a:gd name="connsiteY1" fmla="*/ 0 h 3246623"/>
              <a:gd name="connsiteX2" fmla="*/ 3978607 w 3978607"/>
              <a:gd name="connsiteY2" fmla="*/ 1620180 h 3246623"/>
              <a:gd name="connsiteX3" fmla="*/ 2474687 w 3978607"/>
              <a:gd name="connsiteY3" fmla="*/ 3240360 h 3246623"/>
              <a:gd name="connsiteX4" fmla="*/ 6263 w 3978607"/>
              <a:gd name="connsiteY4" fmla="*/ 3246623 h 3246623"/>
              <a:gd name="connsiteX5" fmla="*/ 0 w 3978607"/>
              <a:gd name="connsiteY5" fmla="*/ 25052 h 3246623"/>
              <a:gd name="connsiteX0" fmla="*/ 0 w 3978607"/>
              <a:gd name="connsiteY0" fmla="*/ 25052 h 3246623"/>
              <a:gd name="connsiteX1" fmla="*/ 2474687 w 3978607"/>
              <a:gd name="connsiteY1" fmla="*/ 0 h 3246623"/>
              <a:gd name="connsiteX2" fmla="*/ 3978607 w 3978607"/>
              <a:gd name="connsiteY2" fmla="*/ 1620180 h 3246623"/>
              <a:gd name="connsiteX3" fmla="*/ 2474687 w 3978607"/>
              <a:gd name="connsiteY3" fmla="*/ 3240360 h 3246623"/>
              <a:gd name="connsiteX4" fmla="*/ 6263 w 3978607"/>
              <a:gd name="connsiteY4" fmla="*/ 3246623 h 3246623"/>
              <a:gd name="connsiteX5" fmla="*/ 0 w 3978607"/>
              <a:gd name="connsiteY5" fmla="*/ 25052 h 3246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78607" h="3246623">
                <a:moveTo>
                  <a:pt x="0" y="25052"/>
                </a:moveTo>
                <a:cubicBezTo>
                  <a:pt x="4800" y="25052"/>
                  <a:pt x="1973380" y="0"/>
                  <a:pt x="2474687" y="0"/>
                </a:cubicBezTo>
                <a:cubicBezTo>
                  <a:pt x="3305279" y="0"/>
                  <a:pt x="3978607" y="725379"/>
                  <a:pt x="3978607" y="1620180"/>
                </a:cubicBezTo>
                <a:cubicBezTo>
                  <a:pt x="3978607" y="2514981"/>
                  <a:pt x="3305279" y="3240360"/>
                  <a:pt x="2474687" y="3240360"/>
                </a:cubicBezTo>
                <a:lnTo>
                  <a:pt x="6263" y="3246623"/>
                </a:lnTo>
                <a:cubicBezTo>
                  <a:pt x="4175" y="2172766"/>
                  <a:pt x="2088" y="1098909"/>
                  <a:pt x="0" y="25052"/>
                </a:cubicBez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lIns="432000" tIns="576000"/>
          <a:lstStyle>
            <a:lvl1pPr>
              <a:spcBef>
                <a:spcPts val="0"/>
              </a:spcBef>
              <a:defRPr sz="3733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="" xmlns:a16="http://schemas.microsoft.com/office/drawing/2014/main" id="{ABE1758C-D96B-9149-8A85-360DE9E59D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4588" y="3236385"/>
            <a:ext cx="3839633" cy="865716"/>
          </a:xfrm>
        </p:spPr>
        <p:txBody>
          <a:bodyPr/>
          <a:lstStyle>
            <a:lvl1pPr>
              <a:spcBef>
                <a:spcPts val="0"/>
              </a:spcBef>
              <a:defRPr sz="1200" b="0" i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exte courant</a:t>
            </a:r>
          </a:p>
        </p:txBody>
      </p:sp>
      <p:sp>
        <p:nvSpPr>
          <p:cNvPr id="12" name="Forme en L 11">
            <a:extLst>
              <a:ext uri="{FF2B5EF4-FFF2-40B4-BE49-F238E27FC236}">
                <a16:creationId xmlns="" xmlns:a16="http://schemas.microsoft.com/office/drawing/2014/main" id="{A27A20B4-0330-2942-8508-3AE6D314F6BD}"/>
              </a:ext>
            </a:extLst>
          </p:cNvPr>
          <p:cNvSpPr/>
          <p:nvPr/>
        </p:nvSpPr>
        <p:spPr>
          <a:xfrm rot="5400000">
            <a:off x="521879" y="3025917"/>
            <a:ext cx="191256" cy="191256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3" name="Forme en L 12">
            <a:extLst>
              <a:ext uri="{FF2B5EF4-FFF2-40B4-BE49-F238E27FC236}">
                <a16:creationId xmlns="" xmlns:a16="http://schemas.microsoft.com/office/drawing/2014/main" id="{DF339D76-A567-4148-8F8C-0E04F92F5E7A}"/>
              </a:ext>
            </a:extLst>
          </p:cNvPr>
          <p:cNvSpPr/>
          <p:nvPr/>
        </p:nvSpPr>
        <p:spPr>
          <a:xfrm rot="16200000">
            <a:off x="4463672" y="4142503"/>
            <a:ext cx="191256" cy="191256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0" name="Espace réservé du texte 9">
            <a:extLst>
              <a:ext uri="{FF2B5EF4-FFF2-40B4-BE49-F238E27FC236}">
                <a16:creationId xmlns="" xmlns:a16="http://schemas.microsoft.com/office/drawing/2014/main" id="{254A8F01-7528-4A07-8E3A-7D335D35FF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0760" y="2084851"/>
            <a:ext cx="4391117" cy="656591"/>
          </a:xfrm>
        </p:spPr>
        <p:txBody>
          <a:bodyPr wrap="square" lIns="0" rIns="0" bIns="0">
            <a:spAutoFit/>
          </a:bodyPr>
          <a:lstStyle>
            <a:lvl1pPr>
              <a:spcBef>
                <a:spcPts val="0"/>
              </a:spcBef>
              <a:defRPr sz="4267" b="0" i="0">
                <a:solidFill>
                  <a:schemeClr val="accent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Suite</a:t>
            </a:r>
          </a:p>
        </p:txBody>
      </p:sp>
    </p:spTree>
    <p:extLst>
      <p:ext uri="{BB962C8B-B14F-4D97-AF65-F5344CB8AC3E}">
        <p14:creationId xmlns:p14="http://schemas.microsoft.com/office/powerpoint/2010/main" val="1433452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+ 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13">
            <a:extLst>
              <a:ext uri="{FF2B5EF4-FFF2-40B4-BE49-F238E27FC236}">
                <a16:creationId xmlns="" xmlns:a16="http://schemas.microsoft.com/office/drawing/2014/main" id="{FEFDA5B2-523C-A14B-A25C-02C4286723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597659" cy="6030384"/>
          </a:xfrm>
          <a:prstGeom prst="flowChartDelay">
            <a:avLst/>
          </a:prstGeom>
          <a:solidFill>
            <a:schemeClr val="accent2">
              <a:alpha val="90000"/>
            </a:schemeClr>
          </a:solidFill>
        </p:spPr>
        <p:txBody>
          <a:bodyPr lIns="432000"/>
          <a:lstStyle>
            <a:lvl1pPr>
              <a:spcBef>
                <a:spcPts val="0"/>
              </a:spcBef>
              <a:defRPr sz="3733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</a:t>
            </a:r>
            <a:br>
              <a:rPr lang="fr-FR" dirty="0"/>
            </a:br>
            <a:r>
              <a:rPr lang="fr-FR" dirty="0"/>
              <a:t>du chapitre</a:t>
            </a:r>
          </a:p>
        </p:txBody>
      </p:sp>
      <p:sp>
        <p:nvSpPr>
          <p:cNvPr id="12" name="Forme en L 11">
            <a:extLst>
              <a:ext uri="{FF2B5EF4-FFF2-40B4-BE49-F238E27FC236}">
                <a16:creationId xmlns="" xmlns:a16="http://schemas.microsoft.com/office/drawing/2014/main" id="{5E8ABAC0-CEBF-EB41-B2E8-0F1202D18B7D}"/>
              </a:ext>
            </a:extLst>
          </p:cNvPr>
          <p:cNvSpPr/>
          <p:nvPr/>
        </p:nvSpPr>
        <p:spPr>
          <a:xfrm rot="5400000">
            <a:off x="445519" y="740701"/>
            <a:ext cx="191256" cy="191256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3" name="Forme en L 12">
            <a:extLst>
              <a:ext uri="{FF2B5EF4-FFF2-40B4-BE49-F238E27FC236}">
                <a16:creationId xmlns="" xmlns:a16="http://schemas.microsoft.com/office/drawing/2014/main" id="{0EC178BD-DD55-F042-9376-5A23946341E7}"/>
              </a:ext>
            </a:extLst>
          </p:cNvPr>
          <p:cNvSpPr/>
          <p:nvPr/>
        </p:nvSpPr>
        <p:spPr>
          <a:xfrm rot="16200000">
            <a:off x="3722488" y="5060572"/>
            <a:ext cx="191256" cy="191256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7" name="Espace réservé du texte 14">
            <a:extLst>
              <a:ext uri="{FF2B5EF4-FFF2-40B4-BE49-F238E27FC236}">
                <a16:creationId xmlns="" xmlns:a16="http://schemas.microsoft.com/office/drawing/2014/main" id="{80071D79-2069-504D-AE8C-67C067F043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2271" y="2992147"/>
            <a:ext cx="3170767" cy="2164053"/>
          </a:xfrm>
        </p:spPr>
        <p:txBody>
          <a:bodyPr/>
          <a:lstStyle>
            <a:lvl1pPr marL="287993" indent="-287993">
              <a:buFont typeface="+mj-lt"/>
              <a:buAutoNum type="arabicPeriod"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="" xmlns:a16="http://schemas.microsoft.com/office/drawing/2014/main" id="{CE063133-3C6E-284A-A651-FF9D4417692B}"/>
              </a:ext>
            </a:extLst>
          </p:cNvPr>
          <p:cNvSpPr txBox="1"/>
          <p:nvPr/>
        </p:nvSpPr>
        <p:spPr>
          <a:xfrm>
            <a:off x="6087707" y="7912359"/>
            <a:ext cx="0" cy="0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48000" rIns="48000" bIns="48000" rtlCol="0">
            <a:noAutofit/>
          </a:bodyPr>
          <a:lstStyle/>
          <a:p>
            <a:pPr>
              <a:spcBef>
                <a:spcPts val="800"/>
              </a:spcBef>
            </a:pPr>
            <a:endParaRPr lang="fr-FR" sz="2133" dirty="0">
              <a:solidFill>
                <a:srgbClr val="323748"/>
              </a:solidFill>
            </a:endParaRPr>
          </a:p>
        </p:txBody>
      </p:sp>
      <p:sp>
        <p:nvSpPr>
          <p:cNvPr id="18" name="Espace réservé du texte 9">
            <a:extLst>
              <a:ext uri="{FF2B5EF4-FFF2-40B4-BE49-F238E27FC236}">
                <a16:creationId xmlns="" xmlns:a16="http://schemas.microsoft.com/office/drawing/2014/main" id="{A1372733-C748-47BF-A199-92C65348EC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0760" y="2084851"/>
            <a:ext cx="4391117" cy="656591"/>
          </a:xfrm>
        </p:spPr>
        <p:txBody>
          <a:bodyPr wrap="square" lIns="0" rIns="0" bIns="0">
            <a:spAutoFit/>
          </a:bodyPr>
          <a:lstStyle>
            <a:lvl1pPr>
              <a:spcBef>
                <a:spcPts val="0"/>
              </a:spcBef>
              <a:defRPr sz="4267" b="0" i="0">
                <a:solidFill>
                  <a:schemeClr val="accent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Suite</a:t>
            </a:r>
          </a:p>
        </p:txBody>
      </p:sp>
    </p:spTree>
    <p:extLst>
      <p:ext uri="{BB962C8B-B14F-4D97-AF65-F5344CB8AC3E}">
        <p14:creationId xmlns:p14="http://schemas.microsoft.com/office/powerpoint/2010/main" val="82705999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2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+ Intro_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Espace réservé du texte 13">
            <a:extLst>
              <a:ext uri="{FF2B5EF4-FFF2-40B4-BE49-F238E27FC236}">
                <a16:creationId xmlns="" xmlns:a16="http://schemas.microsoft.com/office/drawing/2014/main" id="{BFB8179C-9A06-8245-941E-FC9599CC56A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" y="740703"/>
            <a:ext cx="5304809" cy="4328831"/>
          </a:xfrm>
          <a:custGeom>
            <a:avLst/>
            <a:gdLst>
              <a:gd name="connsiteX0" fmla="*/ 0 w 3007840"/>
              <a:gd name="connsiteY0" fmla="*/ 0 h 3240360"/>
              <a:gd name="connsiteX1" fmla="*/ 1503920 w 3007840"/>
              <a:gd name="connsiteY1" fmla="*/ 0 h 3240360"/>
              <a:gd name="connsiteX2" fmla="*/ 3007840 w 3007840"/>
              <a:gd name="connsiteY2" fmla="*/ 1620180 h 3240360"/>
              <a:gd name="connsiteX3" fmla="*/ 1503920 w 3007840"/>
              <a:gd name="connsiteY3" fmla="*/ 3240360 h 3240360"/>
              <a:gd name="connsiteX4" fmla="*/ 0 w 3007840"/>
              <a:gd name="connsiteY4" fmla="*/ 3240360 h 3240360"/>
              <a:gd name="connsiteX5" fmla="*/ 0 w 3007840"/>
              <a:gd name="connsiteY5" fmla="*/ 0 h 3240360"/>
              <a:gd name="connsiteX0" fmla="*/ 0 w 3978607"/>
              <a:gd name="connsiteY0" fmla="*/ 25052 h 3240360"/>
              <a:gd name="connsiteX1" fmla="*/ 2474687 w 3978607"/>
              <a:gd name="connsiteY1" fmla="*/ 0 h 3240360"/>
              <a:gd name="connsiteX2" fmla="*/ 3978607 w 3978607"/>
              <a:gd name="connsiteY2" fmla="*/ 1620180 h 3240360"/>
              <a:gd name="connsiteX3" fmla="*/ 2474687 w 3978607"/>
              <a:gd name="connsiteY3" fmla="*/ 3240360 h 3240360"/>
              <a:gd name="connsiteX4" fmla="*/ 970767 w 3978607"/>
              <a:gd name="connsiteY4" fmla="*/ 3240360 h 3240360"/>
              <a:gd name="connsiteX5" fmla="*/ 0 w 3978607"/>
              <a:gd name="connsiteY5" fmla="*/ 25052 h 3240360"/>
              <a:gd name="connsiteX0" fmla="*/ 0 w 3978607"/>
              <a:gd name="connsiteY0" fmla="*/ 25052 h 3246623"/>
              <a:gd name="connsiteX1" fmla="*/ 2474687 w 3978607"/>
              <a:gd name="connsiteY1" fmla="*/ 0 h 3246623"/>
              <a:gd name="connsiteX2" fmla="*/ 3978607 w 3978607"/>
              <a:gd name="connsiteY2" fmla="*/ 1620180 h 3246623"/>
              <a:gd name="connsiteX3" fmla="*/ 2474687 w 3978607"/>
              <a:gd name="connsiteY3" fmla="*/ 3240360 h 3246623"/>
              <a:gd name="connsiteX4" fmla="*/ 6263 w 3978607"/>
              <a:gd name="connsiteY4" fmla="*/ 3246623 h 3246623"/>
              <a:gd name="connsiteX5" fmla="*/ 0 w 3978607"/>
              <a:gd name="connsiteY5" fmla="*/ 25052 h 3246623"/>
              <a:gd name="connsiteX0" fmla="*/ 0 w 3978607"/>
              <a:gd name="connsiteY0" fmla="*/ 25052 h 3246623"/>
              <a:gd name="connsiteX1" fmla="*/ 2474687 w 3978607"/>
              <a:gd name="connsiteY1" fmla="*/ 0 h 3246623"/>
              <a:gd name="connsiteX2" fmla="*/ 3978607 w 3978607"/>
              <a:gd name="connsiteY2" fmla="*/ 1620180 h 3246623"/>
              <a:gd name="connsiteX3" fmla="*/ 2474687 w 3978607"/>
              <a:gd name="connsiteY3" fmla="*/ 3240360 h 3246623"/>
              <a:gd name="connsiteX4" fmla="*/ 6263 w 3978607"/>
              <a:gd name="connsiteY4" fmla="*/ 3246623 h 3246623"/>
              <a:gd name="connsiteX5" fmla="*/ 0 w 3978607"/>
              <a:gd name="connsiteY5" fmla="*/ 25052 h 32466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978607" h="3246623">
                <a:moveTo>
                  <a:pt x="0" y="25052"/>
                </a:moveTo>
                <a:cubicBezTo>
                  <a:pt x="4800" y="25052"/>
                  <a:pt x="1973380" y="0"/>
                  <a:pt x="2474687" y="0"/>
                </a:cubicBezTo>
                <a:cubicBezTo>
                  <a:pt x="3305279" y="0"/>
                  <a:pt x="3978607" y="725379"/>
                  <a:pt x="3978607" y="1620180"/>
                </a:cubicBezTo>
                <a:cubicBezTo>
                  <a:pt x="3978607" y="2514981"/>
                  <a:pt x="3305279" y="3240360"/>
                  <a:pt x="2474687" y="3240360"/>
                </a:cubicBezTo>
                <a:lnTo>
                  <a:pt x="6263" y="3246623"/>
                </a:lnTo>
                <a:cubicBezTo>
                  <a:pt x="4175" y="2172766"/>
                  <a:pt x="2088" y="1098909"/>
                  <a:pt x="0" y="25052"/>
                </a:cubicBez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lIns="432000" tIns="576000"/>
          <a:lstStyle>
            <a:lvl1pPr>
              <a:spcBef>
                <a:spcPts val="0"/>
              </a:spcBef>
              <a:defRPr sz="3733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 </a:t>
            </a:r>
          </a:p>
        </p:txBody>
      </p:sp>
      <p:sp>
        <p:nvSpPr>
          <p:cNvPr id="11" name="Espace réservé du texte 9">
            <a:extLst>
              <a:ext uri="{FF2B5EF4-FFF2-40B4-BE49-F238E27FC236}">
                <a16:creationId xmlns="" xmlns:a16="http://schemas.microsoft.com/office/drawing/2014/main" id="{ABE1758C-D96B-9149-8A85-360DE9E59DD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54588" y="3236385"/>
            <a:ext cx="3839633" cy="865716"/>
          </a:xfrm>
        </p:spPr>
        <p:txBody>
          <a:bodyPr/>
          <a:lstStyle>
            <a:lvl1pPr>
              <a:spcBef>
                <a:spcPts val="0"/>
              </a:spcBef>
              <a:defRPr sz="1200" b="0" i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exte courant</a:t>
            </a:r>
          </a:p>
        </p:txBody>
      </p:sp>
      <p:sp>
        <p:nvSpPr>
          <p:cNvPr id="12" name="Forme en L 11">
            <a:extLst>
              <a:ext uri="{FF2B5EF4-FFF2-40B4-BE49-F238E27FC236}">
                <a16:creationId xmlns="" xmlns:a16="http://schemas.microsoft.com/office/drawing/2014/main" id="{A27A20B4-0330-2942-8508-3AE6D314F6BD}"/>
              </a:ext>
            </a:extLst>
          </p:cNvPr>
          <p:cNvSpPr/>
          <p:nvPr/>
        </p:nvSpPr>
        <p:spPr>
          <a:xfrm rot="5400000">
            <a:off x="521879" y="3025917"/>
            <a:ext cx="191256" cy="191256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3" name="Forme en L 12">
            <a:extLst>
              <a:ext uri="{FF2B5EF4-FFF2-40B4-BE49-F238E27FC236}">
                <a16:creationId xmlns="" xmlns:a16="http://schemas.microsoft.com/office/drawing/2014/main" id="{DF339D76-A567-4148-8F8C-0E04F92F5E7A}"/>
              </a:ext>
            </a:extLst>
          </p:cNvPr>
          <p:cNvSpPr/>
          <p:nvPr/>
        </p:nvSpPr>
        <p:spPr>
          <a:xfrm rot="16200000">
            <a:off x="4463672" y="4142503"/>
            <a:ext cx="191256" cy="191256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20" name="Espace réservé du texte 9">
            <a:extLst>
              <a:ext uri="{FF2B5EF4-FFF2-40B4-BE49-F238E27FC236}">
                <a16:creationId xmlns="" xmlns:a16="http://schemas.microsoft.com/office/drawing/2014/main" id="{254A8F01-7528-4A07-8E3A-7D335D35FF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0760" y="2084851"/>
            <a:ext cx="4391117" cy="656591"/>
          </a:xfrm>
        </p:spPr>
        <p:txBody>
          <a:bodyPr wrap="square" lIns="0" rIns="0" bIns="0">
            <a:spAutoFit/>
          </a:bodyPr>
          <a:lstStyle>
            <a:lvl1pPr>
              <a:spcBef>
                <a:spcPts val="0"/>
              </a:spcBef>
              <a:defRPr sz="4267" b="0" i="0">
                <a:solidFill>
                  <a:schemeClr val="accent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Suite</a:t>
            </a:r>
          </a:p>
        </p:txBody>
      </p:sp>
    </p:spTree>
    <p:extLst>
      <p:ext uri="{BB962C8B-B14F-4D97-AF65-F5344CB8AC3E}">
        <p14:creationId xmlns:p14="http://schemas.microsoft.com/office/powerpoint/2010/main" val="160545822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+ Sommaire_Gr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Espace réservé du texte 13">
            <a:extLst>
              <a:ext uri="{FF2B5EF4-FFF2-40B4-BE49-F238E27FC236}">
                <a16:creationId xmlns="" xmlns:a16="http://schemas.microsoft.com/office/drawing/2014/main" id="{FEFDA5B2-523C-A14B-A25C-02C4286723F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597659" cy="6030384"/>
          </a:xfrm>
          <a:prstGeom prst="flowChartDelay">
            <a:avLst/>
          </a:prstGeom>
          <a:solidFill>
            <a:schemeClr val="tx2">
              <a:alpha val="90000"/>
            </a:schemeClr>
          </a:solidFill>
        </p:spPr>
        <p:txBody>
          <a:bodyPr lIns="432000"/>
          <a:lstStyle>
            <a:lvl1pPr>
              <a:spcBef>
                <a:spcPts val="0"/>
              </a:spcBef>
              <a:defRPr sz="3733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Titre</a:t>
            </a:r>
            <a:br>
              <a:rPr lang="fr-FR" dirty="0"/>
            </a:br>
            <a:r>
              <a:rPr lang="fr-FR" dirty="0"/>
              <a:t>du chapitre</a:t>
            </a:r>
          </a:p>
        </p:txBody>
      </p:sp>
      <p:sp>
        <p:nvSpPr>
          <p:cNvPr id="12" name="Forme en L 11">
            <a:extLst>
              <a:ext uri="{FF2B5EF4-FFF2-40B4-BE49-F238E27FC236}">
                <a16:creationId xmlns="" xmlns:a16="http://schemas.microsoft.com/office/drawing/2014/main" id="{5E8ABAC0-CEBF-EB41-B2E8-0F1202D18B7D}"/>
              </a:ext>
            </a:extLst>
          </p:cNvPr>
          <p:cNvSpPr/>
          <p:nvPr/>
        </p:nvSpPr>
        <p:spPr>
          <a:xfrm rot="5400000">
            <a:off x="445519" y="740701"/>
            <a:ext cx="191256" cy="191256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3" name="Forme en L 12">
            <a:extLst>
              <a:ext uri="{FF2B5EF4-FFF2-40B4-BE49-F238E27FC236}">
                <a16:creationId xmlns="" xmlns:a16="http://schemas.microsoft.com/office/drawing/2014/main" id="{0EC178BD-DD55-F042-9376-5A23946341E7}"/>
              </a:ext>
            </a:extLst>
          </p:cNvPr>
          <p:cNvSpPr/>
          <p:nvPr/>
        </p:nvSpPr>
        <p:spPr>
          <a:xfrm rot="16200000">
            <a:off x="3722488" y="5060572"/>
            <a:ext cx="191256" cy="191256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7" name="Espace réservé du texte 14">
            <a:extLst>
              <a:ext uri="{FF2B5EF4-FFF2-40B4-BE49-F238E27FC236}">
                <a16:creationId xmlns="" xmlns:a16="http://schemas.microsoft.com/office/drawing/2014/main" id="{80071D79-2069-504D-AE8C-67C067F043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2271" y="2992147"/>
            <a:ext cx="3170767" cy="2164053"/>
          </a:xfrm>
        </p:spPr>
        <p:txBody>
          <a:bodyPr/>
          <a:lstStyle>
            <a:lvl1pPr marL="287993" indent="-287993">
              <a:buFont typeface="+mj-lt"/>
              <a:buAutoNum type="arabicPeriod"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="" xmlns:a16="http://schemas.microsoft.com/office/drawing/2014/main" id="{CE063133-3C6E-284A-A651-FF9D4417692B}"/>
              </a:ext>
            </a:extLst>
          </p:cNvPr>
          <p:cNvSpPr txBox="1"/>
          <p:nvPr/>
        </p:nvSpPr>
        <p:spPr>
          <a:xfrm>
            <a:off x="6087707" y="7912359"/>
            <a:ext cx="0" cy="0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48000" rIns="48000" bIns="48000" rtlCol="0">
            <a:noAutofit/>
          </a:bodyPr>
          <a:lstStyle/>
          <a:p>
            <a:pPr>
              <a:spcBef>
                <a:spcPts val="800"/>
              </a:spcBef>
            </a:pPr>
            <a:endParaRPr lang="fr-FR" sz="2133" dirty="0">
              <a:solidFill>
                <a:srgbClr val="323748"/>
              </a:solidFill>
            </a:endParaRPr>
          </a:p>
        </p:txBody>
      </p:sp>
      <p:sp>
        <p:nvSpPr>
          <p:cNvPr id="18" name="Espace réservé du texte 9">
            <a:extLst>
              <a:ext uri="{FF2B5EF4-FFF2-40B4-BE49-F238E27FC236}">
                <a16:creationId xmlns="" xmlns:a16="http://schemas.microsoft.com/office/drawing/2014/main" id="{A1372733-C748-47BF-A199-92C65348ECA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00760" y="2084851"/>
            <a:ext cx="4391117" cy="656591"/>
          </a:xfrm>
        </p:spPr>
        <p:txBody>
          <a:bodyPr wrap="square" lIns="0" rIns="0" bIns="0">
            <a:spAutoFit/>
          </a:bodyPr>
          <a:lstStyle>
            <a:lvl1pPr>
              <a:spcBef>
                <a:spcPts val="0"/>
              </a:spcBef>
              <a:defRPr sz="4267" b="0" i="0">
                <a:solidFill>
                  <a:schemeClr val="accent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Suite</a:t>
            </a:r>
          </a:p>
        </p:txBody>
      </p:sp>
    </p:spTree>
    <p:extLst>
      <p:ext uri="{BB962C8B-B14F-4D97-AF65-F5344CB8AC3E}">
        <p14:creationId xmlns:p14="http://schemas.microsoft.com/office/powerpoint/2010/main" val="1808438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72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+ Imag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texte 13">
            <a:extLst>
              <a:ext uri="{FF2B5EF4-FFF2-40B4-BE49-F238E27FC236}">
                <a16:creationId xmlns="" xmlns:a16="http://schemas.microsoft.com/office/drawing/2014/main" id="{CA9A7547-C717-7A43-8083-BDB3474C465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4918" y="2657288"/>
            <a:ext cx="10562167" cy="688677"/>
          </a:xfrm>
        </p:spPr>
        <p:txBody>
          <a:bodyPr/>
          <a:lstStyle>
            <a:lvl1pPr algn="ctr">
              <a:spcBef>
                <a:spcPts val="0"/>
              </a:spcBef>
              <a:defRPr sz="4267" b="0" i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2" name="Espace réservé du texte 15">
            <a:extLst>
              <a:ext uri="{FF2B5EF4-FFF2-40B4-BE49-F238E27FC236}">
                <a16:creationId xmlns="" xmlns:a16="http://schemas.microsoft.com/office/drawing/2014/main" id="{2BBF4B44-8A1C-FE4F-8213-884A0B80729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4918" y="3519647"/>
            <a:ext cx="10562167" cy="592388"/>
          </a:xfrm>
        </p:spPr>
        <p:txBody>
          <a:bodyPr/>
          <a:lstStyle>
            <a:lvl1pPr algn="ctr">
              <a:spcBef>
                <a:spcPts val="0"/>
              </a:spcBef>
              <a:defRPr sz="3200" b="0" i="0">
                <a:solidFill>
                  <a:schemeClr val="accent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suite du titre ou sous-titre</a:t>
            </a:r>
          </a:p>
        </p:txBody>
      </p:sp>
      <p:grpSp>
        <p:nvGrpSpPr>
          <p:cNvPr id="14" name="Groupe 13">
            <a:extLst>
              <a:ext uri="{FF2B5EF4-FFF2-40B4-BE49-F238E27FC236}">
                <a16:creationId xmlns="" xmlns:a16="http://schemas.microsoft.com/office/drawing/2014/main" id="{335F2A42-2D58-4CA7-BA92-D5F8528B4EAA}"/>
              </a:ext>
            </a:extLst>
          </p:cNvPr>
          <p:cNvGrpSpPr/>
          <p:nvPr/>
        </p:nvGrpSpPr>
        <p:grpSpPr>
          <a:xfrm>
            <a:off x="11485569" y="6231199"/>
            <a:ext cx="408776" cy="405060"/>
            <a:chOff x="4763" y="1558926"/>
            <a:chExt cx="2095500" cy="2076450"/>
          </a:xfrm>
          <a:solidFill>
            <a:schemeClr val="bg1"/>
          </a:solidFill>
        </p:grpSpPr>
        <p:sp>
          <p:nvSpPr>
            <p:cNvPr id="15" name="Freeform 11">
              <a:extLst>
                <a:ext uri="{FF2B5EF4-FFF2-40B4-BE49-F238E27FC236}">
                  <a16:creationId xmlns="" xmlns:a16="http://schemas.microsoft.com/office/drawing/2014/main" id="{BCE5B1E0-4060-455E-9549-9998358470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1808164"/>
              <a:ext cx="663575" cy="841375"/>
            </a:xfrm>
            <a:custGeom>
              <a:avLst/>
              <a:gdLst>
                <a:gd name="T0" fmla="*/ 302 w 302"/>
                <a:gd name="T1" fmla="*/ 151 h 383"/>
                <a:gd name="T2" fmla="*/ 151 w 302"/>
                <a:gd name="T3" fmla="*/ 0 h 383"/>
                <a:gd name="T4" fmla="*/ 0 w 302"/>
                <a:gd name="T5" fmla="*/ 151 h 383"/>
                <a:gd name="T6" fmla="*/ 0 w 302"/>
                <a:gd name="T7" fmla="*/ 232 h 383"/>
                <a:gd name="T8" fmla="*/ 151 w 302"/>
                <a:gd name="T9" fmla="*/ 383 h 383"/>
                <a:gd name="T10" fmla="*/ 302 w 302"/>
                <a:gd name="T11" fmla="*/ 232 h 383"/>
                <a:gd name="T12" fmla="*/ 302 w 302"/>
                <a:gd name="T13" fmla="*/ 1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383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218"/>
                    <a:pt x="0" y="232"/>
                  </a:cubicBezTo>
                  <a:cubicBezTo>
                    <a:pt x="0" y="315"/>
                    <a:pt x="67" y="383"/>
                    <a:pt x="151" y="383"/>
                  </a:cubicBezTo>
                  <a:cubicBezTo>
                    <a:pt x="234" y="383"/>
                    <a:pt x="302" y="315"/>
                    <a:pt x="302" y="232"/>
                  </a:cubicBezTo>
                  <a:cubicBezTo>
                    <a:pt x="302" y="218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8" name="Freeform 12">
              <a:extLst>
                <a:ext uri="{FF2B5EF4-FFF2-40B4-BE49-F238E27FC236}">
                  <a16:creationId xmlns="" xmlns:a16="http://schemas.microsoft.com/office/drawing/2014/main" id="{B521A9E0-7D53-4717-ABFB-42C962D1D9E2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0" name="Freeform 13">
              <a:extLst>
                <a:ext uri="{FF2B5EF4-FFF2-40B4-BE49-F238E27FC236}">
                  <a16:creationId xmlns="" xmlns:a16="http://schemas.microsoft.com/office/drawing/2014/main" id="{48B43846-7EA1-4356-B9E7-DDD42C5E9CDE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75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</p:grpSp>
      <p:sp>
        <p:nvSpPr>
          <p:cNvPr id="21" name="ZoneTexte 20">
            <a:extLst>
              <a:ext uri="{FF2B5EF4-FFF2-40B4-BE49-F238E27FC236}">
                <a16:creationId xmlns="" xmlns:a16="http://schemas.microsoft.com/office/drawing/2014/main" id="{15F26119-3052-4376-9588-A4B1321F082C}"/>
              </a:ext>
            </a:extLst>
          </p:cNvPr>
          <p:cNvSpPr txBox="1"/>
          <p:nvPr/>
        </p:nvSpPr>
        <p:spPr>
          <a:xfrm>
            <a:off x="10261601" y="6515388"/>
            <a:ext cx="1146905" cy="143565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0" rIns="4800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fr-FR" sz="933" dirty="0">
                <a:solidFill>
                  <a:srgbClr val="FFFFFF"/>
                </a:solidFill>
              </a:rPr>
              <a:t>Confidentiel © PMP</a:t>
            </a:r>
          </a:p>
        </p:txBody>
      </p:sp>
      <p:sp>
        <p:nvSpPr>
          <p:cNvPr id="22" name="Délai  3">
            <a:extLst>
              <a:ext uri="{FF2B5EF4-FFF2-40B4-BE49-F238E27FC236}">
                <a16:creationId xmlns="" xmlns:a16="http://schemas.microsoft.com/office/drawing/2014/main" id="{C5E308E2-FB5D-4EED-B38D-83704B33C112}"/>
              </a:ext>
            </a:extLst>
          </p:cNvPr>
          <p:cNvSpPr/>
          <p:nvPr/>
        </p:nvSpPr>
        <p:spPr>
          <a:xfrm rot="16200000">
            <a:off x="4943158" y="5227852"/>
            <a:ext cx="2317161" cy="949395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  <a:gd name="connsiteX0" fmla="*/ 356290 w 1510312"/>
              <a:gd name="connsiteY0" fmla="*/ 2806 h 620807"/>
              <a:gd name="connsiteX1" fmla="*/ 1203988 w 1510312"/>
              <a:gd name="connsiteY1" fmla="*/ 0 h 620807"/>
              <a:gd name="connsiteX2" fmla="*/ 1510312 w 1510312"/>
              <a:gd name="connsiteY2" fmla="*/ 306324 h 620807"/>
              <a:gd name="connsiteX3" fmla="*/ 1203988 w 1510312"/>
              <a:gd name="connsiteY3" fmla="*/ 612648 h 620807"/>
              <a:gd name="connsiteX4" fmla="*/ 0 w 1510312"/>
              <a:gd name="connsiteY4" fmla="*/ 620807 h 620807"/>
              <a:gd name="connsiteX5" fmla="*/ 356290 w 1510312"/>
              <a:gd name="connsiteY5" fmla="*/ 2806 h 620807"/>
              <a:gd name="connsiteX0" fmla="*/ 359676 w 1513698"/>
              <a:gd name="connsiteY0" fmla="*/ 2806 h 612648"/>
              <a:gd name="connsiteX1" fmla="*/ 1207374 w 1513698"/>
              <a:gd name="connsiteY1" fmla="*/ 0 h 612648"/>
              <a:gd name="connsiteX2" fmla="*/ 1513698 w 1513698"/>
              <a:gd name="connsiteY2" fmla="*/ 306324 h 612648"/>
              <a:gd name="connsiteX3" fmla="*/ 1207374 w 1513698"/>
              <a:gd name="connsiteY3" fmla="*/ 612648 h 612648"/>
              <a:gd name="connsiteX4" fmla="*/ 0 w 1513698"/>
              <a:gd name="connsiteY4" fmla="*/ 607253 h 612648"/>
              <a:gd name="connsiteX5" fmla="*/ 359676 w 1513698"/>
              <a:gd name="connsiteY5" fmla="*/ 2806 h 612648"/>
              <a:gd name="connsiteX0" fmla="*/ 35289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352898 w 1506920"/>
              <a:gd name="connsiteY5" fmla="*/ 2806 h 617418"/>
              <a:gd name="connsiteX0" fmla="*/ 50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508 w 1506920"/>
              <a:gd name="connsiteY5" fmla="*/ 2806 h 61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06920" h="617418">
                <a:moveTo>
                  <a:pt x="508" y="2806"/>
                </a:moveTo>
                <a:lnTo>
                  <a:pt x="1200596" y="0"/>
                </a:lnTo>
                <a:cubicBezTo>
                  <a:pt x="1369774" y="0"/>
                  <a:pt x="1506920" y="137146"/>
                  <a:pt x="1506920" y="306324"/>
                </a:cubicBezTo>
                <a:cubicBezTo>
                  <a:pt x="1506920" y="475502"/>
                  <a:pt x="1369774" y="612648"/>
                  <a:pt x="1200596" y="612648"/>
                </a:cubicBezTo>
                <a:lnTo>
                  <a:pt x="1" y="617418"/>
                </a:lnTo>
                <a:cubicBezTo>
                  <a:pt x="-22" y="409935"/>
                  <a:pt x="531" y="210289"/>
                  <a:pt x="508" y="28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23" name="Délai  3">
            <a:extLst>
              <a:ext uri="{FF2B5EF4-FFF2-40B4-BE49-F238E27FC236}">
                <a16:creationId xmlns="" xmlns:a16="http://schemas.microsoft.com/office/drawing/2014/main" id="{CF7FB341-C95A-4F71-8F29-46A0E82D1F53}"/>
              </a:ext>
            </a:extLst>
          </p:cNvPr>
          <p:cNvSpPr/>
          <p:nvPr/>
        </p:nvSpPr>
        <p:spPr>
          <a:xfrm rot="5400000">
            <a:off x="4943158" y="680753"/>
            <a:ext cx="2317161" cy="949395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  <a:gd name="connsiteX0" fmla="*/ 356290 w 1510312"/>
              <a:gd name="connsiteY0" fmla="*/ 2806 h 620807"/>
              <a:gd name="connsiteX1" fmla="*/ 1203988 w 1510312"/>
              <a:gd name="connsiteY1" fmla="*/ 0 h 620807"/>
              <a:gd name="connsiteX2" fmla="*/ 1510312 w 1510312"/>
              <a:gd name="connsiteY2" fmla="*/ 306324 h 620807"/>
              <a:gd name="connsiteX3" fmla="*/ 1203988 w 1510312"/>
              <a:gd name="connsiteY3" fmla="*/ 612648 h 620807"/>
              <a:gd name="connsiteX4" fmla="*/ 0 w 1510312"/>
              <a:gd name="connsiteY4" fmla="*/ 620807 h 620807"/>
              <a:gd name="connsiteX5" fmla="*/ 356290 w 1510312"/>
              <a:gd name="connsiteY5" fmla="*/ 2806 h 620807"/>
              <a:gd name="connsiteX0" fmla="*/ 359676 w 1513698"/>
              <a:gd name="connsiteY0" fmla="*/ 2806 h 612648"/>
              <a:gd name="connsiteX1" fmla="*/ 1207374 w 1513698"/>
              <a:gd name="connsiteY1" fmla="*/ 0 h 612648"/>
              <a:gd name="connsiteX2" fmla="*/ 1513698 w 1513698"/>
              <a:gd name="connsiteY2" fmla="*/ 306324 h 612648"/>
              <a:gd name="connsiteX3" fmla="*/ 1207374 w 1513698"/>
              <a:gd name="connsiteY3" fmla="*/ 612648 h 612648"/>
              <a:gd name="connsiteX4" fmla="*/ 0 w 1513698"/>
              <a:gd name="connsiteY4" fmla="*/ 607253 h 612648"/>
              <a:gd name="connsiteX5" fmla="*/ 359676 w 1513698"/>
              <a:gd name="connsiteY5" fmla="*/ 2806 h 612648"/>
              <a:gd name="connsiteX0" fmla="*/ 35289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352898 w 1506920"/>
              <a:gd name="connsiteY5" fmla="*/ 2806 h 617418"/>
              <a:gd name="connsiteX0" fmla="*/ 50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508 w 1506920"/>
              <a:gd name="connsiteY5" fmla="*/ 2806 h 61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06920" h="617418">
                <a:moveTo>
                  <a:pt x="508" y="2806"/>
                </a:moveTo>
                <a:lnTo>
                  <a:pt x="1200596" y="0"/>
                </a:lnTo>
                <a:cubicBezTo>
                  <a:pt x="1369774" y="0"/>
                  <a:pt x="1506920" y="137146"/>
                  <a:pt x="1506920" y="306324"/>
                </a:cubicBezTo>
                <a:cubicBezTo>
                  <a:pt x="1506920" y="475502"/>
                  <a:pt x="1369774" y="612648"/>
                  <a:pt x="1200596" y="612648"/>
                </a:cubicBezTo>
                <a:lnTo>
                  <a:pt x="1" y="617418"/>
                </a:lnTo>
                <a:cubicBezTo>
                  <a:pt x="-22" y="409935"/>
                  <a:pt x="531" y="210289"/>
                  <a:pt x="508" y="28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55577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pour impres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élai  3">
            <a:extLst>
              <a:ext uri="{FF2B5EF4-FFF2-40B4-BE49-F238E27FC236}">
                <a16:creationId xmlns="" xmlns:a16="http://schemas.microsoft.com/office/drawing/2014/main" id="{C99245B4-4CCB-6344-9185-326A889C7CA4}"/>
              </a:ext>
            </a:extLst>
          </p:cNvPr>
          <p:cNvSpPr/>
          <p:nvPr/>
        </p:nvSpPr>
        <p:spPr>
          <a:xfrm rot="16200000">
            <a:off x="4943158" y="5227852"/>
            <a:ext cx="2317161" cy="949395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  <a:gd name="connsiteX0" fmla="*/ 356290 w 1510312"/>
              <a:gd name="connsiteY0" fmla="*/ 2806 h 620807"/>
              <a:gd name="connsiteX1" fmla="*/ 1203988 w 1510312"/>
              <a:gd name="connsiteY1" fmla="*/ 0 h 620807"/>
              <a:gd name="connsiteX2" fmla="*/ 1510312 w 1510312"/>
              <a:gd name="connsiteY2" fmla="*/ 306324 h 620807"/>
              <a:gd name="connsiteX3" fmla="*/ 1203988 w 1510312"/>
              <a:gd name="connsiteY3" fmla="*/ 612648 h 620807"/>
              <a:gd name="connsiteX4" fmla="*/ 0 w 1510312"/>
              <a:gd name="connsiteY4" fmla="*/ 620807 h 620807"/>
              <a:gd name="connsiteX5" fmla="*/ 356290 w 1510312"/>
              <a:gd name="connsiteY5" fmla="*/ 2806 h 620807"/>
              <a:gd name="connsiteX0" fmla="*/ 359676 w 1513698"/>
              <a:gd name="connsiteY0" fmla="*/ 2806 h 612648"/>
              <a:gd name="connsiteX1" fmla="*/ 1207374 w 1513698"/>
              <a:gd name="connsiteY1" fmla="*/ 0 h 612648"/>
              <a:gd name="connsiteX2" fmla="*/ 1513698 w 1513698"/>
              <a:gd name="connsiteY2" fmla="*/ 306324 h 612648"/>
              <a:gd name="connsiteX3" fmla="*/ 1207374 w 1513698"/>
              <a:gd name="connsiteY3" fmla="*/ 612648 h 612648"/>
              <a:gd name="connsiteX4" fmla="*/ 0 w 1513698"/>
              <a:gd name="connsiteY4" fmla="*/ 607253 h 612648"/>
              <a:gd name="connsiteX5" fmla="*/ 359676 w 1513698"/>
              <a:gd name="connsiteY5" fmla="*/ 2806 h 612648"/>
              <a:gd name="connsiteX0" fmla="*/ 35289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352898 w 1506920"/>
              <a:gd name="connsiteY5" fmla="*/ 2806 h 617418"/>
              <a:gd name="connsiteX0" fmla="*/ 50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508 w 1506920"/>
              <a:gd name="connsiteY5" fmla="*/ 2806 h 61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06920" h="617418">
                <a:moveTo>
                  <a:pt x="508" y="2806"/>
                </a:moveTo>
                <a:lnTo>
                  <a:pt x="1200596" y="0"/>
                </a:lnTo>
                <a:cubicBezTo>
                  <a:pt x="1369774" y="0"/>
                  <a:pt x="1506920" y="137146"/>
                  <a:pt x="1506920" y="306324"/>
                </a:cubicBezTo>
                <a:cubicBezTo>
                  <a:pt x="1506920" y="475502"/>
                  <a:pt x="1369774" y="612648"/>
                  <a:pt x="1200596" y="612648"/>
                </a:cubicBezTo>
                <a:lnTo>
                  <a:pt x="1" y="617418"/>
                </a:lnTo>
                <a:cubicBezTo>
                  <a:pt x="-22" y="409935"/>
                  <a:pt x="531" y="210289"/>
                  <a:pt x="508" y="28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0" name="Délai  3">
            <a:extLst>
              <a:ext uri="{FF2B5EF4-FFF2-40B4-BE49-F238E27FC236}">
                <a16:creationId xmlns="" xmlns:a16="http://schemas.microsoft.com/office/drawing/2014/main" id="{BA755ADD-B014-AE41-A5C7-DDF764359FA1}"/>
              </a:ext>
            </a:extLst>
          </p:cNvPr>
          <p:cNvSpPr/>
          <p:nvPr/>
        </p:nvSpPr>
        <p:spPr>
          <a:xfrm rot="5400000">
            <a:off x="4943158" y="680753"/>
            <a:ext cx="2317161" cy="949395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  <a:gd name="connsiteX0" fmla="*/ 356290 w 1510312"/>
              <a:gd name="connsiteY0" fmla="*/ 2806 h 620807"/>
              <a:gd name="connsiteX1" fmla="*/ 1203988 w 1510312"/>
              <a:gd name="connsiteY1" fmla="*/ 0 h 620807"/>
              <a:gd name="connsiteX2" fmla="*/ 1510312 w 1510312"/>
              <a:gd name="connsiteY2" fmla="*/ 306324 h 620807"/>
              <a:gd name="connsiteX3" fmla="*/ 1203988 w 1510312"/>
              <a:gd name="connsiteY3" fmla="*/ 612648 h 620807"/>
              <a:gd name="connsiteX4" fmla="*/ 0 w 1510312"/>
              <a:gd name="connsiteY4" fmla="*/ 620807 h 620807"/>
              <a:gd name="connsiteX5" fmla="*/ 356290 w 1510312"/>
              <a:gd name="connsiteY5" fmla="*/ 2806 h 620807"/>
              <a:gd name="connsiteX0" fmla="*/ 359676 w 1513698"/>
              <a:gd name="connsiteY0" fmla="*/ 2806 h 612648"/>
              <a:gd name="connsiteX1" fmla="*/ 1207374 w 1513698"/>
              <a:gd name="connsiteY1" fmla="*/ 0 h 612648"/>
              <a:gd name="connsiteX2" fmla="*/ 1513698 w 1513698"/>
              <a:gd name="connsiteY2" fmla="*/ 306324 h 612648"/>
              <a:gd name="connsiteX3" fmla="*/ 1207374 w 1513698"/>
              <a:gd name="connsiteY3" fmla="*/ 612648 h 612648"/>
              <a:gd name="connsiteX4" fmla="*/ 0 w 1513698"/>
              <a:gd name="connsiteY4" fmla="*/ 607253 h 612648"/>
              <a:gd name="connsiteX5" fmla="*/ 359676 w 1513698"/>
              <a:gd name="connsiteY5" fmla="*/ 2806 h 612648"/>
              <a:gd name="connsiteX0" fmla="*/ 35289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352898 w 1506920"/>
              <a:gd name="connsiteY5" fmla="*/ 2806 h 617418"/>
              <a:gd name="connsiteX0" fmla="*/ 50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508 w 1506920"/>
              <a:gd name="connsiteY5" fmla="*/ 2806 h 6174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506920" h="617418">
                <a:moveTo>
                  <a:pt x="508" y="2806"/>
                </a:moveTo>
                <a:lnTo>
                  <a:pt x="1200596" y="0"/>
                </a:lnTo>
                <a:cubicBezTo>
                  <a:pt x="1369774" y="0"/>
                  <a:pt x="1506920" y="137146"/>
                  <a:pt x="1506920" y="306324"/>
                </a:cubicBezTo>
                <a:cubicBezTo>
                  <a:pt x="1506920" y="475502"/>
                  <a:pt x="1369774" y="612648"/>
                  <a:pt x="1200596" y="612648"/>
                </a:cubicBezTo>
                <a:lnTo>
                  <a:pt x="1" y="617418"/>
                </a:lnTo>
                <a:cubicBezTo>
                  <a:pt x="-22" y="409935"/>
                  <a:pt x="531" y="210289"/>
                  <a:pt x="508" y="28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1" name="Espace réservé du texte 13">
            <a:extLst>
              <a:ext uri="{FF2B5EF4-FFF2-40B4-BE49-F238E27FC236}">
                <a16:creationId xmlns="" xmlns:a16="http://schemas.microsoft.com/office/drawing/2014/main" id="{D259373E-F8E4-5C4B-9A95-29E922E015B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4917" y="2657288"/>
            <a:ext cx="10562168" cy="771712"/>
          </a:xfrm>
        </p:spPr>
        <p:txBody>
          <a:bodyPr/>
          <a:lstStyle>
            <a:lvl1pPr algn="ctr">
              <a:spcBef>
                <a:spcPts val="0"/>
              </a:spcBef>
              <a:defRPr sz="4267" b="0" i="0">
                <a:solidFill>
                  <a:schemeClr val="accent2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2" name="Espace réservé du texte 15">
            <a:extLst>
              <a:ext uri="{FF2B5EF4-FFF2-40B4-BE49-F238E27FC236}">
                <a16:creationId xmlns="" xmlns:a16="http://schemas.microsoft.com/office/drawing/2014/main" id="{9156656F-6E84-3244-8EE4-C5AADBDAB7E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4917" y="3519647"/>
            <a:ext cx="10562168" cy="592388"/>
          </a:xfrm>
        </p:spPr>
        <p:txBody>
          <a:bodyPr/>
          <a:lstStyle>
            <a:lvl1pPr algn="ctr">
              <a:spcBef>
                <a:spcPts val="0"/>
              </a:spcBef>
              <a:defRPr sz="3200" b="0" i="0">
                <a:solidFill>
                  <a:schemeClr val="accent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suite du titre ou sous-titre</a:t>
            </a:r>
          </a:p>
        </p:txBody>
      </p:sp>
    </p:spTree>
    <p:extLst>
      <p:ext uri="{BB962C8B-B14F-4D97-AF65-F5344CB8AC3E}">
        <p14:creationId xmlns:p14="http://schemas.microsoft.com/office/powerpoint/2010/main" val="18421580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+ Image + Sommai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3">
            <a:extLst>
              <a:ext uri="{FF2B5EF4-FFF2-40B4-BE49-F238E27FC236}">
                <a16:creationId xmlns="" xmlns:a16="http://schemas.microsoft.com/office/drawing/2014/main" id="{A9CC86DB-299A-4043-925E-EC781EBEFD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4918" y="1899617"/>
            <a:ext cx="10562167" cy="848883"/>
          </a:xfrm>
        </p:spPr>
        <p:txBody>
          <a:bodyPr/>
          <a:lstStyle>
            <a:lvl1pPr algn="ctr">
              <a:spcBef>
                <a:spcPts val="0"/>
              </a:spcBef>
              <a:defRPr sz="4267" b="0" i="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="" xmlns:a16="http://schemas.microsoft.com/office/drawing/2014/main" id="{D3A535C7-2B12-5B49-AA2B-CB3CB6FA47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4918" y="2770942"/>
            <a:ext cx="10562167" cy="534119"/>
          </a:xfrm>
        </p:spPr>
        <p:txBody>
          <a:bodyPr/>
          <a:lstStyle>
            <a:lvl1pPr algn="ctr">
              <a:spcBef>
                <a:spcPts val="0"/>
              </a:spcBef>
              <a:defRPr sz="3200" b="0" i="0">
                <a:solidFill>
                  <a:schemeClr val="accent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suite du titre ou sous-titre</a:t>
            </a:r>
          </a:p>
        </p:txBody>
      </p:sp>
      <p:sp>
        <p:nvSpPr>
          <p:cNvPr id="17" name="Espace réservé du texte 14">
            <a:extLst>
              <a:ext uri="{FF2B5EF4-FFF2-40B4-BE49-F238E27FC236}">
                <a16:creationId xmlns="" xmlns:a16="http://schemas.microsoft.com/office/drawing/2014/main" id="{B6231A25-4886-4581-BF93-7639FFBBA6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32189" y="3706581"/>
            <a:ext cx="2400000" cy="1440000"/>
          </a:xfrm>
        </p:spPr>
        <p:txBody>
          <a:bodyPr/>
          <a:lstStyle>
            <a:lvl1pPr marL="287993" indent="-287993">
              <a:buFont typeface="+mj-lt"/>
              <a:buAutoNum type="arabicPeriod"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14">
            <a:extLst>
              <a:ext uri="{FF2B5EF4-FFF2-40B4-BE49-F238E27FC236}">
                <a16:creationId xmlns="" xmlns:a16="http://schemas.microsoft.com/office/drawing/2014/main" id="{4B4B46C1-9521-432E-97F9-19E8FE3C79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76053" y="3706581"/>
            <a:ext cx="2400000" cy="1440000"/>
          </a:xfrm>
        </p:spPr>
        <p:txBody>
          <a:bodyPr/>
          <a:lstStyle>
            <a:lvl1pPr marL="287993" indent="-287993">
              <a:buFont typeface="+mj-lt"/>
              <a:buAutoNum type="arabicPeriod"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Délai  3">
            <a:extLst>
              <a:ext uri="{FF2B5EF4-FFF2-40B4-BE49-F238E27FC236}">
                <a16:creationId xmlns="" xmlns:a16="http://schemas.microsoft.com/office/drawing/2014/main" id="{89657704-FBBC-4DC5-AC77-0F44AD3B3B19}"/>
              </a:ext>
            </a:extLst>
          </p:cNvPr>
          <p:cNvSpPr/>
          <p:nvPr/>
        </p:nvSpPr>
        <p:spPr>
          <a:xfrm rot="5400000">
            <a:off x="5216703" y="415169"/>
            <a:ext cx="1774517" cy="944184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4022" h="614030">
                <a:moveTo>
                  <a:pt x="0" y="2806"/>
                </a:moveTo>
                <a:lnTo>
                  <a:pt x="847698" y="0"/>
                </a:lnTo>
                <a:cubicBezTo>
                  <a:pt x="1016876" y="0"/>
                  <a:pt x="1154022" y="137146"/>
                  <a:pt x="1154022" y="306324"/>
                </a:cubicBezTo>
                <a:cubicBezTo>
                  <a:pt x="1154022" y="475502"/>
                  <a:pt x="1016876" y="612648"/>
                  <a:pt x="847698" y="612648"/>
                </a:cubicBezTo>
                <a:lnTo>
                  <a:pt x="2879" y="614030"/>
                </a:lnTo>
                <a:cubicBezTo>
                  <a:pt x="2856" y="406547"/>
                  <a:pt x="23" y="210289"/>
                  <a:pt x="0" y="28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25" name="Délai  3">
            <a:extLst>
              <a:ext uri="{FF2B5EF4-FFF2-40B4-BE49-F238E27FC236}">
                <a16:creationId xmlns="" xmlns:a16="http://schemas.microsoft.com/office/drawing/2014/main" id="{FB7FD68E-0ADB-4220-B554-E6B7A7841CCE}"/>
              </a:ext>
            </a:extLst>
          </p:cNvPr>
          <p:cNvSpPr/>
          <p:nvPr/>
        </p:nvSpPr>
        <p:spPr>
          <a:xfrm rot="16200000">
            <a:off x="5208742" y="5501780"/>
            <a:ext cx="1774517" cy="944184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4022" h="614030">
                <a:moveTo>
                  <a:pt x="0" y="2806"/>
                </a:moveTo>
                <a:lnTo>
                  <a:pt x="847698" y="0"/>
                </a:lnTo>
                <a:cubicBezTo>
                  <a:pt x="1016876" y="0"/>
                  <a:pt x="1154022" y="137146"/>
                  <a:pt x="1154022" y="306324"/>
                </a:cubicBezTo>
                <a:cubicBezTo>
                  <a:pt x="1154022" y="475502"/>
                  <a:pt x="1016876" y="612648"/>
                  <a:pt x="847698" y="612648"/>
                </a:cubicBezTo>
                <a:lnTo>
                  <a:pt x="2879" y="614030"/>
                </a:lnTo>
                <a:cubicBezTo>
                  <a:pt x="2856" y="406547"/>
                  <a:pt x="23" y="210289"/>
                  <a:pt x="0" y="28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grpSp>
        <p:nvGrpSpPr>
          <p:cNvPr id="26" name="Groupe 25">
            <a:extLst>
              <a:ext uri="{FF2B5EF4-FFF2-40B4-BE49-F238E27FC236}">
                <a16:creationId xmlns="" xmlns:a16="http://schemas.microsoft.com/office/drawing/2014/main" id="{3729F774-087C-4D22-A895-21315429151C}"/>
              </a:ext>
            </a:extLst>
          </p:cNvPr>
          <p:cNvGrpSpPr/>
          <p:nvPr/>
        </p:nvGrpSpPr>
        <p:grpSpPr>
          <a:xfrm>
            <a:off x="11485569" y="6231199"/>
            <a:ext cx="408776" cy="405060"/>
            <a:chOff x="4763" y="1558926"/>
            <a:chExt cx="2095500" cy="2076450"/>
          </a:xfrm>
          <a:solidFill>
            <a:schemeClr val="bg1"/>
          </a:solidFill>
        </p:grpSpPr>
        <p:sp>
          <p:nvSpPr>
            <p:cNvPr id="27" name="Freeform 11">
              <a:extLst>
                <a:ext uri="{FF2B5EF4-FFF2-40B4-BE49-F238E27FC236}">
                  <a16:creationId xmlns="" xmlns:a16="http://schemas.microsoft.com/office/drawing/2014/main" id="{0BF60102-A5A4-4C0F-AD72-50CA72520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1808164"/>
              <a:ext cx="663575" cy="841375"/>
            </a:xfrm>
            <a:custGeom>
              <a:avLst/>
              <a:gdLst>
                <a:gd name="T0" fmla="*/ 302 w 302"/>
                <a:gd name="T1" fmla="*/ 151 h 383"/>
                <a:gd name="T2" fmla="*/ 151 w 302"/>
                <a:gd name="T3" fmla="*/ 0 h 383"/>
                <a:gd name="T4" fmla="*/ 0 w 302"/>
                <a:gd name="T5" fmla="*/ 151 h 383"/>
                <a:gd name="T6" fmla="*/ 0 w 302"/>
                <a:gd name="T7" fmla="*/ 232 h 383"/>
                <a:gd name="T8" fmla="*/ 151 w 302"/>
                <a:gd name="T9" fmla="*/ 383 h 383"/>
                <a:gd name="T10" fmla="*/ 302 w 302"/>
                <a:gd name="T11" fmla="*/ 232 h 383"/>
                <a:gd name="T12" fmla="*/ 302 w 302"/>
                <a:gd name="T13" fmla="*/ 1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383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218"/>
                    <a:pt x="0" y="232"/>
                  </a:cubicBezTo>
                  <a:cubicBezTo>
                    <a:pt x="0" y="315"/>
                    <a:pt x="67" y="383"/>
                    <a:pt x="151" y="383"/>
                  </a:cubicBezTo>
                  <a:cubicBezTo>
                    <a:pt x="234" y="383"/>
                    <a:pt x="302" y="315"/>
                    <a:pt x="302" y="232"/>
                  </a:cubicBezTo>
                  <a:cubicBezTo>
                    <a:pt x="302" y="218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="" xmlns:a16="http://schemas.microsoft.com/office/drawing/2014/main" id="{47DFD104-389C-4787-97FF-D2FD4593E6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="" xmlns:a16="http://schemas.microsoft.com/office/drawing/2014/main" id="{57E205CA-ACB1-46F3-984F-E7B7668FF27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75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</p:grpSp>
      <p:sp>
        <p:nvSpPr>
          <p:cNvPr id="30" name="ZoneTexte 29">
            <a:extLst>
              <a:ext uri="{FF2B5EF4-FFF2-40B4-BE49-F238E27FC236}">
                <a16:creationId xmlns="" xmlns:a16="http://schemas.microsoft.com/office/drawing/2014/main" id="{30FAB679-DDDE-4AD7-8EC7-044E8B1DE977}"/>
              </a:ext>
            </a:extLst>
          </p:cNvPr>
          <p:cNvSpPr txBox="1"/>
          <p:nvPr/>
        </p:nvSpPr>
        <p:spPr>
          <a:xfrm>
            <a:off x="10261601" y="6515388"/>
            <a:ext cx="1146905" cy="143565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0" rIns="4800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fr-FR" sz="933" dirty="0">
                <a:solidFill>
                  <a:srgbClr val="FFFFFF"/>
                </a:solidFill>
              </a:rPr>
              <a:t>Confidentiel © PMP</a:t>
            </a:r>
          </a:p>
        </p:txBody>
      </p:sp>
    </p:spTree>
    <p:extLst>
      <p:ext uri="{BB962C8B-B14F-4D97-AF65-F5344CB8AC3E}">
        <p14:creationId xmlns:p14="http://schemas.microsoft.com/office/powerpoint/2010/main" val="4533807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itre + Sommaire pour impression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Espace réservé du texte 13">
            <a:extLst>
              <a:ext uri="{FF2B5EF4-FFF2-40B4-BE49-F238E27FC236}">
                <a16:creationId xmlns="" xmlns:a16="http://schemas.microsoft.com/office/drawing/2014/main" id="{A9CC86DB-299A-4043-925E-EC781EBEFDB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14918" y="1899617"/>
            <a:ext cx="10562167" cy="848883"/>
          </a:xfrm>
        </p:spPr>
        <p:txBody>
          <a:bodyPr/>
          <a:lstStyle>
            <a:lvl1pPr algn="ctr">
              <a:spcBef>
                <a:spcPts val="0"/>
              </a:spcBef>
              <a:defRPr sz="4267" b="0" i="0">
                <a:solidFill>
                  <a:schemeClr val="accent2"/>
                </a:solidFill>
                <a:latin typeface="+mj-lt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15" name="Espace réservé du texte 15">
            <a:extLst>
              <a:ext uri="{FF2B5EF4-FFF2-40B4-BE49-F238E27FC236}">
                <a16:creationId xmlns="" xmlns:a16="http://schemas.microsoft.com/office/drawing/2014/main" id="{D3A535C7-2B12-5B49-AA2B-CB3CB6FA47A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14918" y="2770942"/>
            <a:ext cx="10562167" cy="534119"/>
          </a:xfrm>
        </p:spPr>
        <p:txBody>
          <a:bodyPr/>
          <a:lstStyle>
            <a:lvl1pPr algn="ctr">
              <a:spcBef>
                <a:spcPts val="0"/>
              </a:spcBef>
              <a:defRPr sz="3200" b="0" i="0">
                <a:solidFill>
                  <a:schemeClr val="accent3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suite du titre ou sous-titre</a:t>
            </a:r>
          </a:p>
        </p:txBody>
      </p:sp>
      <p:sp>
        <p:nvSpPr>
          <p:cNvPr id="17" name="Espace réservé du texte 14">
            <a:extLst>
              <a:ext uri="{FF2B5EF4-FFF2-40B4-BE49-F238E27FC236}">
                <a16:creationId xmlns="" xmlns:a16="http://schemas.microsoft.com/office/drawing/2014/main" id="{B6231A25-4886-4581-BF93-7639FFBBA68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232189" y="3621181"/>
            <a:ext cx="2400000" cy="1440000"/>
          </a:xfrm>
        </p:spPr>
        <p:txBody>
          <a:bodyPr/>
          <a:lstStyle>
            <a:lvl1pPr marL="287993" indent="-287993">
              <a:buFont typeface="+mj-lt"/>
              <a:buAutoNum type="arabicPeriod"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14">
            <a:extLst>
              <a:ext uri="{FF2B5EF4-FFF2-40B4-BE49-F238E27FC236}">
                <a16:creationId xmlns="" xmlns:a16="http://schemas.microsoft.com/office/drawing/2014/main" id="{4B4B46C1-9521-432E-97F9-19E8FE3C795F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576053" y="3621181"/>
            <a:ext cx="2400000" cy="1440000"/>
          </a:xfrm>
        </p:spPr>
        <p:txBody>
          <a:bodyPr/>
          <a:lstStyle>
            <a:lvl1pPr marL="287993" indent="-287993">
              <a:buFont typeface="+mj-lt"/>
              <a:buAutoNum type="arabicPeriod"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Délai  3">
            <a:extLst>
              <a:ext uri="{FF2B5EF4-FFF2-40B4-BE49-F238E27FC236}">
                <a16:creationId xmlns="" xmlns:a16="http://schemas.microsoft.com/office/drawing/2014/main" id="{89657704-FBBC-4DC5-AC77-0F44AD3B3B19}"/>
              </a:ext>
            </a:extLst>
          </p:cNvPr>
          <p:cNvSpPr/>
          <p:nvPr/>
        </p:nvSpPr>
        <p:spPr>
          <a:xfrm rot="5400000">
            <a:off x="5216703" y="415169"/>
            <a:ext cx="1774517" cy="944184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4022" h="614030">
                <a:moveTo>
                  <a:pt x="0" y="2806"/>
                </a:moveTo>
                <a:lnTo>
                  <a:pt x="847698" y="0"/>
                </a:lnTo>
                <a:cubicBezTo>
                  <a:pt x="1016876" y="0"/>
                  <a:pt x="1154022" y="137146"/>
                  <a:pt x="1154022" y="306324"/>
                </a:cubicBezTo>
                <a:cubicBezTo>
                  <a:pt x="1154022" y="475502"/>
                  <a:pt x="1016876" y="612648"/>
                  <a:pt x="847698" y="612648"/>
                </a:cubicBezTo>
                <a:lnTo>
                  <a:pt x="2879" y="614030"/>
                </a:lnTo>
                <a:cubicBezTo>
                  <a:pt x="2856" y="406547"/>
                  <a:pt x="23" y="210289"/>
                  <a:pt x="0" y="28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25" name="Délai  3">
            <a:extLst>
              <a:ext uri="{FF2B5EF4-FFF2-40B4-BE49-F238E27FC236}">
                <a16:creationId xmlns="" xmlns:a16="http://schemas.microsoft.com/office/drawing/2014/main" id="{FB7FD68E-0ADB-4220-B554-E6B7A7841CCE}"/>
              </a:ext>
            </a:extLst>
          </p:cNvPr>
          <p:cNvSpPr/>
          <p:nvPr/>
        </p:nvSpPr>
        <p:spPr>
          <a:xfrm rot="16200000">
            <a:off x="5208742" y="5501780"/>
            <a:ext cx="1774517" cy="944184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54022" h="614030">
                <a:moveTo>
                  <a:pt x="0" y="2806"/>
                </a:moveTo>
                <a:lnTo>
                  <a:pt x="847698" y="0"/>
                </a:lnTo>
                <a:cubicBezTo>
                  <a:pt x="1016876" y="0"/>
                  <a:pt x="1154022" y="137146"/>
                  <a:pt x="1154022" y="306324"/>
                </a:cubicBezTo>
                <a:cubicBezTo>
                  <a:pt x="1154022" y="475502"/>
                  <a:pt x="1016876" y="612648"/>
                  <a:pt x="847698" y="612648"/>
                </a:cubicBezTo>
                <a:lnTo>
                  <a:pt x="2879" y="614030"/>
                </a:lnTo>
                <a:cubicBezTo>
                  <a:pt x="2856" y="406547"/>
                  <a:pt x="23" y="210289"/>
                  <a:pt x="0" y="280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61036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r 8"/>
          <p:cNvGrpSpPr/>
          <p:nvPr userDrawn="1"/>
        </p:nvGrpSpPr>
        <p:grpSpPr>
          <a:xfrm>
            <a:off x="1636251" y="1450415"/>
            <a:ext cx="570016" cy="584775"/>
            <a:chOff x="2812746" y="1902748"/>
            <a:chExt cx="570016" cy="584775"/>
          </a:xfrm>
        </p:grpSpPr>
        <p:sp>
          <p:nvSpPr>
            <p:cNvPr id="10" name="Ellipse 9"/>
            <p:cNvSpPr/>
            <p:nvPr/>
          </p:nvSpPr>
          <p:spPr>
            <a:xfrm>
              <a:off x="2812746" y="1911927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2940586" y="1902748"/>
              <a:ext cx="3433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1</a:t>
              </a:r>
              <a:endParaRPr lang="fr-FR" sz="320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12" name="Grouper 11"/>
          <p:cNvGrpSpPr/>
          <p:nvPr userDrawn="1"/>
        </p:nvGrpSpPr>
        <p:grpSpPr>
          <a:xfrm>
            <a:off x="1640345" y="3221455"/>
            <a:ext cx="570016" cy="593709"/>
            <a:chOff x="3669089" y="1888234"/>
            <a:chExt cx="570016" cy="593709"/>
          </a:xfrm>
        </p:grpSpPr>
        <p:sp>
          <p:nvSpPr>
            <p:cNvPr id="13" name="Ellipse 12"/>
            <p:cNvSpPr/>
            <p:nvPr/>
          </p:nvSpPr>
          <p:spPr>
            <a:xfrm>
              <a:off x="3669089" y="1911927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3755251" y="1888234"/>
              <a:ext cx="42672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2</a:t>
              </a:r>
              <a:endParaRPr lang="fr-FR" sz="320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15" name="Grouper 14"/>
          <p:cNvGrpSpPr/>
          <p:nvPr userDrawn="1"/>
        </p:nvGrpSpPr>
        <p:grpSpPr>
          <a:xfrm>
            <a:off x="1636251" y="4779644"/>
            <a:ext cx="570016" cy="593709"/>
            <a:chOff x="4525432" y="1902748"/>
            <a:chExt cx="570016" cy="593709"/>
          </a:xfrm>
        </p:grpSpPr>
        <p:sp>
          <p:nvSpPr>
            <p:cNvPr id="16" name="Ellipse 15"/>
            <p:cNvSpPr/>
            <p:nvPr/>
          </p:nvSpPr>
          <p:spPr>
            <a:xfrm>
              <a:off x="4525432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4611594" y="1902748"/>
              <a:ext cx="40588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3</a:t>
              </a:r>
            </a:p>
          </p:txBody>
        </p:sp>
      </p:grpSp>
      <p:grpSp>
        <p:nvGrpSpPr>
          <p:cNvPr id="18" name="Grouper 17"/>
          <p:cNvGrpSpPr/>
          <p:nvPr userDrawn="1"/>
        </p:nvGrpSpPr>
        <p:grpSpPr>
          <a:xfrm>
            <a:off x="6696110" y="1450415"/>
            <a:ext cx="570016" cy="593709"/>
            <a:chOff x="5323718" y="1902748"/>
            <a:chExt cx="570016" cy="593709"/>
          </a:xfrm>
        </p:grpSpPr>
        <p:sp>
          <p:nvSpPr>
            <p:cNvPr id="19" name="Ellipse 18"/>
            <p:cNvSpPr/>
            <p:nvPr/>
          </p:nvSpPr>
          <p:spPr>
            <a:xfrm>
              <a:off x="5323718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0" name="ZoneTexte 19"/>
            <p:cNvSpPr txBox="1"/>
            <p:nvPr/>
          </p:nvSpPr>
          <p:spPr>
            <a:xfrm>
              <a:off x="5395366" y="1902748"/>
              <a:ext cx="42992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4</a:t>
              </a:r>
            </a:p>
          </p:txBody>
        </p:sp>
      </p:grpSp>
      <p:grpSp>
        <p:nvGrpSpPr>
          <p:cNvPr id="21" name="Grouper 20"/>
          <p:cNvGrpSpPr/>
          <p:nvPr userDrawn="1"/>
        </p:nvGrpSpPr>
        <p:grpSpPr>
          <a:xfrm>
            <a:off x="6696110" y="3212521"/>
            <a:ext cx="570016" cy="593709"/>
            <a:chOff x="6238118" y="1902748"/>
            <a:chExt cx="570016" cy="593709"/>
          </a:xfrm>
        </p:grpSpPr>
        <p:sp>
          <p:nvSpPr>
            <p:cNvPr id="22" name="Ellipse 21"/>
            <p:cNvSpPr/>
            <p:nvPr/>
          </p:nvSpPr>
          <p:spPr>
            <a:xfrm>
              <a:off x="6238118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6324280" y="1902748"/>
              <a:ext cx="42191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5</a:t>
              </a:r>
              <a:endParaRPr lang="fr-FR" sz="320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24" name="Grouper 23"/>
          <p:cNvGrpSpPr/>
          <p:nvPr userDrawn="1"/>
        </p:nvGrpSpPr>
        <p:grpSpPr>
          <a:xfrm>
            <a:off x="6696110" y="4783463"/>
            <a:ext cx="570016" cy="593709"/>
            <a:chOff x="7268633" y="1902748"/>
            <a:chExt cx="570016" cy="593709"/>
          </a:xfrm>
        </p:grpSpPr>
        <p:sp>
          <p:nvSpPr>
            <p:cNvPr id="25" name="Ellipse 24"/>
            <p:cNvSpPr/>
            <p:nvPr/>
          </p:nvSpPr>
          <p:spPr>
            <a:xfrm>
              <a:off x="7268633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/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7340281" y="1902748"/>
              <a:ext cx="436338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chemeClr val="bg1"/>
                  </a:solidFill>
                  <a:latin typeface="Montserrat" charset="0"/>
                  <a:ea typeface="Montserrat" charset="0"/>
                  <a:cs typeface="Montserrat" charset="0"/>
                </a:rPr>
                <a:t>6</a:t>
              </a:r>
              <a:endParaRPr lang="fr-FR" sz="3200" dirty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sp>
        <p:nvSpPr>
          <p:cNvPr id="4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/>
              <a:t>Présanse</a:t>
            </a:r>
            <a:r>
              <a:rPr lang="fr-FR" dirty="0" smtClean="0"/>
              <a:t> </a:t>
            </a:r>
            <a:r>
              <a:rPr lang="mr-IN" dirty="0" smtClean="0"/>
              <a:t>–</a:t>
            </a:r>
            <a:r>
              <a:rPr lang="fr-FR" dirty="0" smtClean="0"/>
              <a:t> Masque Powerpoint / JJ.MM.AAAA</a:t>
            </a:r>
            <a:endParaRPr lang="fr-FR" dirty="0"/>
          </a:p>
        </p:txBody>
      </p:sp>
      <p:sp>
        <p:nvSpPr>
          <p:cNvPr id="4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7" name="Arc 6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6" name="Rectangle 45"/>
          <p:cNvSpPr/>
          <p:nvPr userDrawn="1"/>
        </p:nvSpPr>
        <p:spPr>
          <a:xfrm>
            <a:off x="942359" y="979156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7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50" name="Espace réservé du texte 49"/>
          <p:cNvSpPr>
            <a:spLocks noGrp="1"/>
          </p:cNvSpPr>
          <p:nvPr>
            <p:ph type="body" sz="quarter" idx="11" hasCustomPrompt="1"/>
          </p:nvPr>
        </p:nvSpPr>
        <p:spPr>
          <a:xfrm>
            <a:off x="2414899" y="1902910"/>
            <a:ext cx="3653680" cy="119049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2" name="Espace réservé du texte 51"/>
          <p:cNvSpPr>
            <a:spLocks noGrp="1"/>
          </p:cNvSpPr>
          <p:nvPr>
            <p:ph type="body" sz="quarter" idx="12" hasCustomPrompt="1"/>
          </p:nvPr>
        </p:nvSpPr>
        <p:spPr>
          <a:xfrm>
            <a:off x="2414899" y="1460174"/>
            <a:ext cx="2844227" cy="334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3" name="Espace réservé du texte 49"/>
          <p:cNvSpPr>
            <a:spLocks noGrp="1"/>
          </p:cNvSpPr>
          <p:nvPr>
            <p:ph type="body" sz="quarter" idx="13" hasCustomPrompt="1"/>
          </p:nvPr>
        </p:nvSpPr>
        <p:spPr>
          <a:xfrm>
            <a:off x="2414899" y="3641320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4" name="Espace réservé du texte 51"/>
          <p:cNvSpPr>
            <a:spLocks noGrp="1"/>
          </p:cNvSpPr>
          <p:nvPr>
            <p:ph type="body" sz="quarter" idx="14" hasCustomPrompt="1"/>
          </p:nvPr>
        </p:nvSpPr>
        <p:spPr>
          <a:xfrm>
            <a:off x="2414899" y="3243554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5" name="Espace réservé du texte 49"/>
          <p:cNvSpPr>
            <a:spLocks noGrp="1"/>
          </p:cNvSpPr>
          <p:nvPr>
            <p:ph type="body" sz="quarter" idx="15" hasCustomPrompt="1"/>
          </p:nvPr>
        </p:nvSpPr>
        <p:spPr>
          <a:xfrm>
            <a:off x="2414899" y="5193648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6" name="Espace réservé du texte 51"/>
          <p:cNvSpPr>
            <a:spLocks noGrp="1"/>
          </p:cNvSpPr>
          <p:nvPr>
            <p:ph type="body" sz="quarter" idx="16" hasCustomPrompt="1"/>
          </p:nvPr>
        </p:nvSpPr>
        <p:spPr>
          <a:xfrm>
            <a:off x="2414899" y="4803337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7" name="Espace réservé du texte 49"/>
          <p:cNvSpPr>
            <a:spLocks noGrp="1"/>
          </p:cNvSpPr>
          <p:nvPr>
            <p:ph type="body" sz="quarter" idx="17" hasCustomPrompt="1"/>
          </p:nvPr>
        </p:nvSpPr>
        <p:spPr>
          <a:xfrm>
            <a:off x="7505563" y="1922857"/>
            <a:ext cx="3653680" cy="119049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8" name="Espace réservé du texte 51"/>
          <p:cNvSpPr>
            <a:spLocks noGrp="1"/>
          </p:cNvSpPr>
          <p:nvPr>
            <p:ph type="body" sz="quarter" idx="18" hasCustomPrompt="1"/>
          </p:nvPr>
        </p:nvSpPr>
        <p:spPr>
          <a:xfrm>
            <a:off x="7505563" y="1480121"/>
            <a:ext cx="2844227" cy="334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9" name="Espace réservé du texte 49"/>
          <p:cNvSpPr>
            <a:spLocks noGrp="1"/>
          </p:cNvSpPr>
          <p:nvPr>
            <p:ph type="body" sz="quarter" idx="19" hasCustomPrompt="1"/>
          </p:nvPr>
        </p:nvSpPr>
        <p:spPr>
          <a:xfrm>
            <a:off x="7505563" y="3661267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60" name="Espace réservé du texte 51"/>
          <p:cNvSpPr>
            <a:spLocks noGrp="1"/>
          </p:cNvSpPr>
          <p:nvPr>
            <p:ph type="body" sz="quarter" idx="20" hasCustomPrompt="1"/>
          </p:nvPr>
        </p:nvSpPr>
        <p:spPr>
          <a:xfrm>
            <a:off x="7505563" y="3263501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61" name="Espace réservé du texte 49"/>
          <p:cNvSpPr>
            <a:spLocks noGrp="1"/>
          </p:cNvSpPr>
          <p:nvPr>
            <p:ph type="body" sz="quarter" idx="21" hasCustomPrompt="1"/>
          </p:nvPr>
        </p:nvSpPr>
        <p:spPr>
          <a:xfrm>
            <a:off x="7505563" y="5213595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62" name="Espace réservé du texte 51"/>
          <p:cNvSpPr>
            <a:spLocks noGrp="1"/>
          </p:cNvSpPr>
          <p:nvPr>
            <p:ph type="body" sz="quarter" idx="22" hasCustomPrompt="1"/>
          </p:nvPr>
        </p:nvSpPr>
        <p:spPr>
          <a:xfrm>
            <a:off x="7505563" y="4823284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056692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1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91C9E997-26CA-2747-B15A-DA5433E27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265" y="209821"/>
            <a:ext cx="10560820" cy="434871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66FC04D5-3B44-B842-9B98-CA0627AB2CF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814918" y="1773239"/>
            <a:ext cx="10562167" cy="424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9" name="Espace réservé du texte 2"/>
          <p:cNvSpPr>
            <a:spLocks noGrp="1"/>
          </p:cNvSpPr>
          <p:nvPr>
            <p:ph type="body" sz="quarter" idx="18"/>
          </p:nvPr>
        </p:nvSpPr>
        <p:spPr>
          <a:xfrm>
            <a:off x="816477" y="753356"/>
            <a:ext cx="10560607" cy="458837"/>
          </a:xfrm>
        </p:spPr>
        <p:txBody>
          <a:bodyPr/>
          <a:lstStyle>
            <a:lvl1pPr>
              <a:spcBef>
                <a:spcPts val="0"/>
              </a:spcBef>
              <a:defRPr lang="fr-FR" sz="1600" b="0" i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Délai  3">
            <a:extLst>
              <a:ext uri="{FF2B5EF4-FFF2-40B4-BE49-F238E27FC236}">
                <a16:creationId xmlns="" xmlns:a16="http://schemas.microsoft.com/office/drawing/2014/main" id="{9D6A4A98-42EB-484F-AE78-5B7F2DC75EE1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87779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u 2 colon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91C9E997-26CA-2747-B15A-DA5433E27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265" y="209821"/>
            <a:ext cx="10560820" cy="434871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66FC04D5-3B44-B842-9B98-CA0627AB2CFF}"/>
              </a:ext>
            </a:extLst>
          </p:cNvPr>
          <p:cNvSpPr>
            <a:spLocks noGrp="1"/>
          </p:cNvSpPr>
          <p:nvPr>
            <p:ph idx="1"/>
          </p:nvPr>
        </p:nvSpPr>
        <p:spPr bwMode="gray">
          <a:xfrm>
            <a:off x="814918" y="1773239"/>
            <a:ext cx="5041900" cy="424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9" name="Espace réservé du texte 2"/>
          <p:cNvSpPr>
            <a:spLocks noGrp="1"/>
          </p:cNvSpPr>
          <p:nvPr>
            <p:ph type="body" sz="quarter" idx="18"/>
          </p:nvPr>
        </p:nvSpPr>
        <p:spPr>
          <a:xfrm>
            <a:off x="816477" y="753356"/>
            <a:ext cx="10560607" cy="458837"/>
          </a:xfrm>
        </p:spPr>
        <p:txBody>
          <a:bodyPr/>
          <a:lstStyle>
            <a:lvl1pPr>
              <a:spcBef>
                <a:spcPts val="0"/>
              </a:spcBef>
              <a:defRPr lang="fr-FR" sz="1600" b="0" i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Délai  3">
            <a:extLst>
              <a:ext uri="{FF2B5EF4-FFF2-40B4-BE49-F238E27FC236}">
                <a16:creationId xmlns="" xmlns:a16="http://schemas.microsoft.com/office/drawing/2014/main" id="{9D6A4A98-42EB-484F-AE78-5B7F2DC75EE1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7" name="Content Placeholder 2">
            <a:extLst>
              <a:ext uri="{FF2B5EF4-FFF2-40B4-BE49-F238E27FC236}">
                <a16:creationId xmlns="" xmlns:a16="http://schemas.microsoft.com/office/drawing/2014/main" id="{3F631D28-A162-4EAC-94BD-86CD2A733725}"/>
              </a:ext>
            </a:extLst>
          </p:cNvPr>
          <p:cNvSpPr>
            <a:spLocks noGrp="1"/>
          </p:cNvSpPr>
          <p:nvPr>
            <p:ph idx="19"/>
          </p:nvPr>
        </p:nvSpPr>
        <p:spPr bwMode="gray">
          <a:xfrm>
            <a:off x="6335186" y="1773239"/>
            <a:ext cx="5041900" cy="42480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38230653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Gauch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e l’image 10">
            <a:extLst>
              <a:ext uri="{FF2B5EF4-FFF2-40B4-BE49-F238E27FC236}">
                <a16:creationId xmlns="" xmlns:a16="http://schemas.microsoft.com/office/drawing/2014/main" id="{D4E79C55-0661-5B4D-A61B-8257046FE53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0" y="1"/>
            <a:ext cx="5913517" cy="6049303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35138" h="5164038">
                <a:moveTo>
                  <a:pt x="902" y="6091"/>
                </a:moveTo>
                <a:lnTo>
                  <a:pt x="1830962" y="0"/>
                </a:lnTo>
                <a:cubicBezTo>
                  <a:pt x="3269209" y="0"/>
                  <a:pt x="4435138" y="1156009"/>
                  <a:pt x="4435138" y="2582019"/>
                </a:cubicBezTo>
                <a:cubicBezTo>
                  <a:pt x="4435138" y="4008029"/>
                  <a:pt x="3269209" y="5164038"/>
                  <a:pt x="1830962" y="5164038"/>
                </a:cubicBezTo>
                <a:lnTo>
                  <a:pt x="4337" y="5157818"/>
                </a:lnTo>
                <a:cubicBezTo>
                  <a:pt x="8484" y="3442692"/>
                  <a:pt x="-3245" y="1721217"/>
                  <a:pt x="902" y="6091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anchor="ctr"/>
          <a:lstStyle>
            <a:lvl1pPr algn="ctr">
              <a:spcBef>
                <a:spcPts val="0"/>
              </a:spcBef>
              <a:defRPr sz="1333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9" name="Espace réservé du texte 21">
            <a:extLst>
              <a:ext uri="{FF2B5EF4-FFF2-40B4-BE49-F238E27FC236}">
                <a16:creationId xmlns="" xmlns:a16="http://schemas.microsoft.com/office/drawing/2014/main" id="{25A854F1-84F3-3443-951D-80C3A05454A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-22351" y="2036846"/>
            <a:ext cx="5327651" cy="2094060"/>
          </a:xfrm>
          <a:custGeom>
            <a:avLst/>
            <a:gdLst>
              <a:gd name="connsiteX0" fmla="*/ 0 w 1836075"/>
              <a:gd name="connsiteY0" fmla="*/ 0 h 1752600"/>
              <a:gd name="connsiteX1" fmla="*/ 918038 w 1836075"/>
              <a:gd name="connsiteY1" fmla="*/ 0 h 1752600"/>
              <a:gd name="connsiteX2" fmla="*/ 1836076 w 1836075"/>
              <a:gd name="connsiteY2" fmla="*/ 876300 h 1752600"/>
              <a:gd name="connsiteX3" fmla="*/ 918038 w 1836075"/>
              <a:gd name="connsiteY3" fmla="*/ 1752600 h 1752600"/>
              <a:gd name="connsiteX4" fmla="*/ 0 w 1836075"/>
              <a:gd name="connsiteY4" fmla="*/ 1752600 h 1752600"/>
              <a:gd name="connsiteX5" fmla="*/ 0 w 1836075"/>
              <a:gd name="connsiteY5" fmla="*/ 0 h 1752600"/>
              <a:gd name="connsiteX0" fmla="*/ 0 w 3115601"/>
              <a:gd name="connsiteY0" fmla="*/ 3175 h 1752600"/>
              <a:gd name="connsiteX1" fmla="*/ 2197563 w 3115601"/>
              <a:gd name="connsiteY1" fmla="*/ 0 h 1752600"/>
              <a:gd name="connsiteX2" fmla="*/ 3115601 w 3115601"/>
              <a:gd name="connsiteY2" fmla="*/ 876300 h 1752600"/>
              <a:gd name="connsiteX3" fmla="*/ 2197563 w 3115601"/>
              <a:gd name="connsiteY3" fmla="*/ 1752600 h 1752600"/>
              <a:gd name="connsiteX4" fmla="*/ 1279525 w 3115601"/>
              <a:gd name="connsiteY4" fmla="*/ 1752600 h 1752600"/>
              <a:gd name="connsiteX5" fmla="*/ 0 w 3115601"/>
              <a:gd name="connsiteY5" fmla="*/ 3175 h 1752600"/>
              <a:gd name="connsiteX0" fmla="*/ 662631 w 3778232"/>
              <a:gd name="connsiteY0" fmla="*/ 3175 h 1767714"/>
              <a:gd name="connsiteX1" fmla="*/ 2860194 w 3778232"/>
              <a:gd name="connsiteY1" fmla="*/ 0 h 1767714"/>
              <a:gd name="connsiteX2" fmla="*/ 3778232 w 3778232"/>
              <a:gd name="connsiteY2" fmla="*/ 876300 h 1767714"/>
              <a:gd name="connsiteX3" fmla="*/ 2860194 w 3778232"/>
              <a:gd name="connsiteY3" fmla="*/ 1752600 h 1767714"/>
              <a:gd name="connsiteX4" fmla="*/ 0 w 3778232"/>
              <a:gd name="connsiteY4" fmla="*/ 1767714 h 1767714"/>
              <a:gd name="connsiteX5" fmla="*/ 662631 w 3778232"/>
              <a:gd name="connsiteY5" fmla="*/ 3175 h 1767714"/>
              <a:gd name="connsiteX0" fmla="*/ 0 w 3784398"/>
              <a:gd name="connsiteY0" fmla="*/ 3175 h 1767714"/>
              <a:gd name="connsiteX1" fmla="*/ 2866360 w 3784398"/>
              <a:gd name="connsiteY1" fmla="*/ 0 h 1767714"/>
              <a:gd name="connsiteX2" fmla="*/ 3784398 w 3784398"/>
              <a:gd name="connsiteY2" fmla="*/ 876300 h 1767714"/>
              <a:gd name="connsiteX3" fmla="*/ 2866360 w 3784398"/>
              <a:gd name="connsiteY3" fmla="*/ 1752600 h 1767714"/>
              <a:gd name="connsiteX4" fmla="*/ 6166 w 3784398"/>
              <a:gd name="connsiteY4" fmla="*/ 1767714 h 1767714"/>
              <a:gd name="connsiteX5" fmla="*/ 0 w 378439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800106 w 4578338"/>
              <a:gd name="connsiteY4" fmla="*/ 1767714 h 1767714"/>
              <a:gd name="connsiteX5" fmla="*/ 0 w 457833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6166 w 4578338"/>
              <a:gd name="connsiteY4" fmla="*/ 1767714 h 1767714"/>
              <a:gd name="connsiteX5" fmla="*/ 0 w 4578338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01499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167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54184"/>
              <a:gd name="connsiteX1" fmla="*/ 4255633 w 5173671"/>
              <a:gd name="connsiteY1" fmla="*/ 0 h 1754184"/>
              <a:gd name="connsiteX2" fmla="*/ 5173671 w 5173671"/>
              <a:gd name="connsiteY2" fmla="*/ 876300 h 1754184"/>
              <a:gd name="connsiteX3" fmla="*/ 4255633 w 5173671"/>
              <a:gd name="connsiteY3" fmla="*/ 1752600 h 1754184"/>
              <a:gd name="connsiteX4" fmla="*/ 39993 w 5173671"/>
              <a:gd name="connsiteY4" fmla="*/ 1754184 h 1754184"/>
              <a:gd name="connsiteX5" fmla="*/ 0 w 5173671"/>
              <a:gd name="connsiteY5" fmla="*/ 3175 h 1754184"/>
              <a:gd name="connsiteX0" fmla="*/ 0 w 5157228"/>
              <a:gd name="connsiteY0" fmla="*/ 3175 h 1754184"/>
              <a:gd name="connsiteX1" fmla="*/ 4239190 w 5157228"/>
              <a:gd name="connsiteY1" fmla="*/ 0 h 1754184"/>
              <a:gd name="connsiteX2" fmla="*/ 5157228 w 5157228"/>
              <a:gd name="connsiteY2" fmla="*/ 876300 h 1754184"/>
              <a:gd name="connsiteX3" fmla="*/ 4239190 w 5157228"/>
              <a:gd name="connsiteY3" fmla="*/ 1752600 h 1754184"/>
              <a:gd name="connsiteX4" fmla="*/ 23550 w 5157228"/>
              <a:gd name="connsiteY4" fmla="*/ 1754184 h 1754184"/>
              <a:gd name="connsiteX5" fmla="*/ 0 w 5157228"/>
              <a:gd name="connsiteY5" fmla="*/ 3175 h 1754184"/>
              <a:gd name="connsiteX0" fmla="*/ 5523 w 5162751"/>
              <a:gd name="connsiteY0" fmla="*/ 3175 h 1752601"/>
              <a:gd name="connsiteX1" fmla="*/ 4244713 w 5162751"/>
              <a:gd name="connsiteY1" fmla="*/ 0 h 1752601"/>
              <a:gd name="connsiteX2" fmla="*/ 5162751 w 5162751"/>
              <a:gd name="connsiteY2" fmla="*/ 876300 h 1752601"/>
              <a:gd name="connsiteX3" fmla="*/ 4244713 w 5162751"/>
              <a:gd name="connsiteY3" fmla="*/ 1752600 h 1752601"/>
              <a:gd name="connsiteX4" fmla="*/ 297 w 5162751"/>
              <a:gd name="connsiteY4" fmla="*/ 1745962 h 1752601"/>
              <a:gd name="connsiteX5" fmla="*/ 5523 w 5162751"/>
              <a:gd name="connsiteY5" fmla="*/ 3175 h 1752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2751" h="1752601">
                <a:moveTo>
                  <a:pt x="5523" y="3175"/>
                </a:moveTo>
                <a:lnTo>
                  <a:pt x="4244713" y="0"/>
                </a:lnTo>
                <a:cubicBezTo>
                  <a:pt x="4751731" y="0"/>
                  <a:pt x="5162751" y="392333"/>
                  <a:pt x="5162751" y="876300"/>
                </a:cubicBezTo>
                <a:cubicBezTo>
                  <a:pt x="5162751" y="1360267"/>
                  <a:pt x="4751731" y="1752600"/>
                  <a:pt x="4244713" y="1752600"/>
                </a:cubicBezTo>
                <a:lnTo>
                  <a:pt x="297" y="1745962"/>
                </a:lnTo>
                <a:cubicBezTo>
                  <a:pt x="-1758" y="1157782"/>
                  <a:pt x="7578" y="591355"/>
                  <a:pt x="5523" y="3175"/>
                </a:cubicBez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lIns="288000" tIns="180000" anchor="t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="" xmlns:a16="http://schemas.microsoft.com/office/drawing/2014/main" id="{7E6947B0-C05E-0443-AFDD-652509F57F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2166" y="3025756"/>
            <a:ext cx="4637716" cy="768349"/>
          </a:xfrm>
        </p:spPr>
        <p:txBody>
          <a:bodyPr/>
          <a:lstStyle>
            <a:lvl1pPr>
              <a:spcBef>
                <a:spcPts val="0"/>
              </a:spcBef>
              <a:defRPr sz="3200" b="0" i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suite du titre ou sous-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="" xmlns:a16="http://schemas.microsoft.com/office/drawing/2014/main" id="{4447A2F8-7575-B74B-8EB6-8046632356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35185" y="1773767"/>
            <a:ext cx="5041900" cy="42481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</p:spTree>
    <p:extLst>
      <p:ext uri="{BB962C8B-B14F-4D97-AF65-F5344CB8AC3E}">
        <p14:creationId xmlns:p14="http://schemas.microsoft.com/office/powerpoint/2010/main" val="108572448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Dro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Espace réservé du texte 16">
            <a:extLst>
              <a:ext uri="{FF2B5EF4-FFF2-40B4-BE49-F238E27FC236}">
                <a16:creationId xmlns="" xmlns:a16="http://schemas.microsoft.com/office/drawing/2014/main" id="{4447A2F8-7575-B74B-8EB6-8046632356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4918" y="1773767"/>
            <a:ext cx="5041900" cy="4248151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</p:txBody>
      </p:sp>
      <p:sp>
        <p:nvSpPr>
          <p:cNvPr id="5" name="Espace réservé pour une image  4">
            <a:extLst>
              <a:ext uri="{FF2B5EF4-FFF2-40B4-BE49-F238E27FC236}">
                <a16:creationId xmlns="" xmlns:a16="http://schemas.microsoft.com/office/drawing/2014/main" id="{0590467D-1B23-1046-87E5-FE06FBBBD00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 bwMode="gray">
          <a:xfrm>
            <a:off x="6285184" y="0"/>
            <a:ext cx="5906816" cy="6048000"/>
          </a:xfrm>
          <a:custGeom>
            <a:avLst/>
            <a:gdLst>
              <a:gd name="connsiteX0" fmla="*/ 0 w 3414712"/>
              <a:gd name="connsiteY0" fmla="*/ 1706563 h 3413125"/>
              <a:gd name="connsiteX1" fmla="*/ 1706563 w 3414712"/>
              <a:gd name="connsiteY1" fmla="*/ 0 h 3413125"/>
              <a:gd name="connsiteX2" fmla="*/ 1708150 w 3414712"/>
              <a:gd name="connsiteY2" fmla="*/ 0 h 3413125"/>
              <a:gd name="connsiteX3" fmla="*/ 3414713 w 3414712"/>
              <a:gd name="connsiteY3" fmla="*/ 1706563 h 3413125"/>
              <a:gd name="connsiteX4" fmla="*/ 3414712 w 3414712"/>
              <a:gd name="connsiteY4" fmla="*/ 1706563 h 3413125"/>
              <a:gd name="connsiteX5" fmla="*/ 1708149 w 3414712"/>
              <a:gd name="connsiteY5" fmla="*/ 3413126 h 3413125"/>
              <a:gd name="connsiteX6" fmla="*/ 1706563 w 3414712"/>
              <a:gd name="connsiteY6" fmla="*/ 3413125 h 3413125"/>
              <a:gd name="connsiteX7" fmla="*/ 0 w 3414712"/>
              <a:gd name="connsiteY7" fmla="*/ 1706562 h 3413125"/>
              <a:gd name="connsiteX8" fmla="*/ 0 w 3414712"/>
              <a:gd name="connsiteY8" fmla="*/ 1706563 h 3413125"/>
              <a:gd name="connsiteX0" fmla="*/ 0 w 3770295"/>
              <a:gd name="connsiteY0" fmla="*/ 1706563 h 3413126"/>
              <a:gd name="connsiteX1" fmla="*/ 1706563 w 3770295"/>
              <a:gd name="connsiteY1" fmla="*/ 0 h 3413126"/>
              <a:gd name="connsiteX2" fmla="*/ 3327545 w 3770295"/>
              <a:gd name="connsiteY2" fmla="*/ 6980 h 3413126"/>
              <a:gd name="connsiteX3" fmla="*/ 3414713 w 3770295"/>
              <a:gd name="connsiteY3" fmla="*/ 1706563 h 3413126"/>
              <a:gd name="connsiteX4" fmla="*/ 3414712 w 3770295"/>
              <a:gd name="connsiteY4" fmla="*/ 1706563 h 3413126"/>
              <a:gd name="connsiteX5" fmla="*/ 1708149 w 3770295"/>
              <a:gd name="connsiteY5" fmla="*/ 3413126 h 3413126"/>
              <a:gd name="connsiteX6" fmla="*/ 1706563 w 3770295"/>
              <a:gd name="connsiteY6" fmla="*/ 3413125 h 3413126"/>
              <a:gd name="connsiteX7" fmla="*/ 0 w 3770295"/>
              <a:gd name="connsiteY7" fmla="*/ 1706562 h 3413126"/>
              <a:gd name="connsiteX8" fmla="*/ 0 w 3770295"/>
              <a:gd name="connsiteY8" fmla="*/ 1706563 h 3413126"/>
              <a:gd name="connsiteX0" fmla="*/ 0 w 3765340"/>
              <a:gd name="connsiteY0" fmla="*/ 1713543 h 3420106"/>
              <a:gd name="connsiteX1" fmla="*/ 1706563 w 3765340"/>
              <a:gd name="connsiteY1" fmla="*/ 6980 h 3420106"/>
              <a:gd name="connsiteX2" fmla="*/ 3320564 w 3765340"/>
              <a:gd name="connsiteY2" fmla="*/ 0 h 3420106"/>
              <a:gd name="connsiteX3" fmla="*/ 3414713 w 3765340"/>
              <a:gd name="connsiteY3" fmla="*/ 1713543 h 3420106"/>
              <a:gd name="connsiteX4" fmla="*/ 3414712 w 3765340"/>
              <a:gd name="connsiteY4" fmla="*/ 1713543 h 3420106"/>
              <a:gd name="connsiteX5" fmla="*/ 1708149 w 3765340"/>
              <a:gd name="connsiteY5" fmla="*/ 3420106 h 3420106"/>
              <a:gd name="connsiteX6" fmla="*/ 1706563 w 3765340"/>
              <a:gd name="connsiteY6" fmla="*/ 3420105 h 3420106"/>
              <a:gd name="connsiteX7" fmla="*/ 0 w 3765340"/>
              <a:gd name="connsiteY7" fmla="*/ 1713542 h 3420106"/>
              <a:gd name="connsiteX8" fmla="*/ 0 w 3765340"/>
              <a:gd name="connsiteY8" fmla="*/ 1713543 h 3420106"/>
              <a:gd name="connsiteX0" fmla="*/ 0 w 3414713"/>
              <a:gd name="connsiteY0" fmla="*/ 1713543 h 3420106"/>
              <a:gd name="connsiteX1" fmla="*/ 1706563 w 3414713"/>
              <a:gd name="connsiteY1" fmla="*/ 6980 h 3420106"/>
              <a:gd name="connsiteX2" fmla="*/ 3320564 w 3414713"/>
              <a:gd name="connsiteY2" fmla="*/ 0 h 3420106"/>
              <a:gd name="connsiteX3" fmla="*/ 3414713 w 3414713"/>
              <a:gd name="connsiteY3" fmla="*/ 1713543 h 3420106"/>
              <a:gd name="connsiteX4" fmla="*/ 3414712 w 3414713"/>
              <a:gd name="connsiteY4" fmla="*/ 1713543 h 3420106"/>
              <a:gd name="connsiteX5" fmla="*/ 1708149 w 3414713"/>
              <a:gd name="connsiteY5" fmla="*/ 3420106 h 3420106"/>
              <a:gd name="connsiteX6" fmla="*/ 1706563 w 3414713"/>
              <a:gd name="connsiteY6" fmla="*/ 3420105 h 3420106"/>
              <a:gd name="connsiteX7" fmla="*/ 0 w 3414713"/>
              <a:gd name="connsiteY7" fmla="*/ 1713542 h 3420106"/>
              <a:gd name="connsiteX8" fmla="*/ 0 w 3414713"/>
              <a:gd name="connsiteY8" fmla="*/ 1713543 h 3420106"/>
              <a:gd name="connsiteX0" fmla="*/ 0 w 3414713"/>
              <a:gd name="connsiteY0" fmla="*/ 1713543 h 3434065"/>
              <a:gd name="connsiteX1" fmla="*/ 1706563 w 3414713"/>
              <a:gd name="connsiteY1" fmla="*/ 6980 h 3434065"/>
              <a:gd name="connsiteX2" fmla="*/ 3320564 w 3414713"/>
              <a:gd name="connsiteY2" fmla="*/ 0 h 3434065"/>
              <a:gd name="connsiteX3" fmla="*/ 3414713 w 3414713"/>
              <a:gd name="connsiteY3" fmla="*/ 1713543 h 3434065"/>
              <a:gd name="connsiteX4" fmla="*/ 3414712 w 3414713"/>
              <a:gd name="connsiteY4" fmla="*/ 1713543 h 3434065"/>
              <a:gd name="connsiteX5" fmla="*/ 1708149 w 3414713"/>
              <a:gd name="connsiteY5" fmla="*/ 3420106 h 3434065"/>
              <a:gd name="connsiteX6" fmla="*/ 1553000 w 3414713"/>
              <a:gd name="connsiteY6" fmla="*/ 3434065 h 3434065"/>
              <a:gd name="connsiteX7" fmla="*/ 0 w 3414713"/>
              <a:gd name="connsiteY7" fmla="*/ 1713542 h 3434065"/>
              <a:gd name="connsiteX8" fmla="*/ 0 w 3414713"/>
              <a:gd name="connsiteY8" fmla="*/ 1713543 h 3434065"/>
              <a:gd name="connsiteX0" fmla="*/ 0 w 3765340"/>
              <a:gd name="connsiteY0" fmla="*/ 1713543 h 3434065"/>
              <a:gd name="connsiteX1" fmla="*/ 1706563 w 3765340"/>
              <a:gd name="connsiteY1" fmla="*/ 6980 h 3434065"/>
              <a:gd name="connsiteX2" fmla="*/ 3320564 w 3765340"/>
              <a:gd name="connsiteY2" fmla="*/ 0 h 3434065"/>
              <a:gd name="connsiteX3" fmla="*/ 3414713 w 3765340"/>
              <a:gd name="connsiteY3" fmla="*/ 1713543 h 3434065"/>
              <a:gd name="connsiteX4" fmla="*/ 3414712 w 3765340"/>
              <a:gd name="connsiteY4" fmla="*/ 1713543 h 3434065"/>
              <a:gd name="connsiteX5" fmla="*/ 3320564 w 3765340"/>
              <a:gd name="connsiteY5" fmla="*/ 3420106 h 3434065"/>
              <a:gd name="connsiteX6" fmla="*/ 1553000 w 3765340"/>
              <a:gd name="connsiteY6" fmla="*/ 3434065 h 3434065"/>
              <a:gd name="connsiteX7" fmla="*/ 0 w 3765340"/>
              <a:gd name="connsiteY7" fmla="*/ 1713542 h 3434065"/>
              <a:gd name="connsiteX8" fmla="*/ 0 w 3765340"/>
              <a:gd name="connsiteY8" fmla="*/ 1713543 h 3434065"/>
              <a:gd name="connsiteX0" fmla="*/ 0 w 3765340"/>
              <a:gd name="connsiteY0" fmla="*/ 1713543 h 3427085"/>
              <a:gd name="connsiteX1" fmla="*/ 1706563 w 3765340"/>
              <a:gd name="connsiteY1" fmla="*/ 6980 h 3427085"/>
              <a:gd name="connsiteX2" fmla="*/ 3320564 w 3765340"/>
              <a:gd name="connsiteY2" fmla="*/ 0 h 3427085"/>
              <a:gd name="connsiteX3" fmla="*/ 3414713 w 3765340"/>
              <a:gd name="connsiteY3" fmla="*/ 1713543 h 3427085"/>
              <a:gd name="connsiteX4" fmla="*/ 3414712 w 3765340"/>
              <a:gd name="connsiteY4" fmla="*/ 1713543 h 3427085"/>
              <a:gd name="connsiteX5" fmla="*/ 3320564 w 3765340"/>
              <a:gd name="connsiteY5" fmla="*/ 3420106 h 3427085"/>
              <a:gd name="connsiteX6" fmla="*/ 1636762 w 3765340"/>
              <a:gd name="connsiteY6" fmla="*/ 3427085 h 3427085"/>
              <a:gd name="connsiteX7" fmla="*/ 0 w 3765340"/>
              <a:gd name="connsiteY7" fmla="*/ 1713542 h 3427085"/>
              <a:gd name="connsiteX8" fmla="*/ 0 w 3765340"/>
              <a:gd name="connsiteY8" fmla="*/ 1713543 h 3427085"/>
              <a:gd name="connsiteX0" fmla="*/ 0 w 3414713"/>
              <a:gd name="connsiteY0" fmla="*/ 1713543 h 3427085"/>
              <a:gd name="connsiteX1" fmla="*/ 1706563 w 3414713"/>
              <a:gd name="connsiteY1" fmla="*/ 6980 h 3427085"/>
              <a:gd name="connsiteX2" fmla="*/ 3320564 w 3414713"/>
              <a:gd name="connsiteY2" fmla="*/ 0 h 3427085"/>
              <a:gd name="connsiteX3" fmla="*/ 3414713 w 3414713"/>
              <a:gd name="connsiteY3" fmla="*/ 1713543 h 3427085"/>
              <a:gd name="connsiteX4" fmla="*/ 3414712 w 3414713"/>
              <a:gd name="connsiteY4" fmla="*/ 1713543 h 3427085"/>
              <a:gd name="connsiteX5" fmla="*/ 3320564 w 3414713"/>
              <a:gd name="connsiteY5" fmla="*/ 3420106 h 3427085"/>
              <a:gd name="connsiteX6" fmla="*/ 1636762 w 3414713"/>
              <a:gd name="connsiteY6" fmla="*/ 3427085 h 3427085"/>
              <a:gd name="connsiteX7" fmla="*/ 0 w 3414713"/>
              <a:gd name="connsiteY7" fmla="*/ 1713542 h 3427085"/>
              <a:gd name="connsiteX8" fmla="*/ 0 w 3414713"/>
              <a:gd name="connsiteY8" fmla="*/ 1713543 h 3427085"/>
              <a:gd name="connsiteX0" fmla="*/ 0 w 3414713"/>
              <a:gd name="connsiteY0" fmla="*/ 1713543 h 3427085"/>
              <a:gd name="connsiteX1" fmla="*/ 1706563 w 3414713"/>
              <a:gd name="connsiteY1" fmla="*/ 6980 h 3427085"/>
              <a:gd name="connsiteX2" fmla="*/ 3320564 w 3414713"/>
              <a:gd name="connsiteY2" fmla="*/ 0 h 3427085"/>
              <a:gd name="connsiteX3" fmla="*/ 3414713 w 3414713"/>
              <a:gd name="connsiteY3" fmla="*/ 1713543 h 3427085"/>
              <a:gd name="connsiteX4" fmla="*/ 3343275 w 3414713"/>
              <a:gd name="connsiteY4" fmla="*/ 1742118 h 3427085"/>
              <a:gd name="connsiteX5" fmla="*/ 3320564 w 3414713"/>
              <a:gd name="connsiteY5" fmla="*/ 3420106 h 3427085"/>
              <a:gd name="connsiteX6" fmla="*/ 1636762 w 3414713"/>
              <a:gd name="connsiteY6" fmla="*/ 3427085 h 3427085"/>
              <a:gd name="connsiteX7" fmla="*/ 0 w 3414713"/>
              <a:gd name="connsiteY7" fmla="*/ 1713542 h 3427085"/>
              <a:gd name="connsiteX8" fmla="*/ 0 w 3414713"/>
              <a:gd name="connsiteY8" fmla="*/ 1713543 h 3427085"/>
              <a:gd name="connsiteX0" fmla="*/ 0 w 3343275"/>
              <a:gd name="connsiteY0" fmla="*/ 1713543 h 3427085"/>
              <a:gd name="connsiteX1" fmla="*/ 1706563 w 3343275"/>
              <a:gd name="connsiteY1" fmla="*/ 6980 h 3427085"/>
              <a:gd name="connsiteX2" fmla="*/ 3320564 w 3343275"/>
              <a:gd name="connsiteY2" fmla="*/ 0 h 3427085"/>
              <a:gd name="connsiteX3" fmla="*/ 3343275 w 3343275"/>
              <a:gd name="connsiteY3" fmla="*/ 1720687 h 3427085"/>
              <a:gd name="connsiteX4" fmla="*/ 3343275 w 3343275"/>
              <a:gd name="connsiteY4" fmla="*/ 1742118 h 3427085"/>
              <a:gd name="connsiteX5" fmla="*/ 3320564 w 3343275"/>
              <a:gd name="connsiteY5" fmla="*/ 3420106 h 3427085"/>
              <a:gd name="connsiteX6" fmla="*/ 1636762 w 3343275"/>
              <a:gd name="connsiteY6" fmla="*/ 3427085 h 3427085"/>
              <a:gd name="connsiteX7" fmla="*/ 0 w 3343275"/>
              <a:gd name="connsiteY7" fmla="*/ 1713542 h 3427085"/>
              <a:gd name="connsiteX8" fmla="*/ 0 w 3343275"/>
              <a:gd name="connsiteY8" fmla="*/ 1713543 h 3427085"/>
              <a:gd name="connsiteX0" fmla="*/ 0 w 3347062"/>
              <a:gd name="connsiteY0" fmla="*/ 1706563 h 3420105"/>
              <a:gd name="connsiteX1" fmla="*/ 1706563 w 3347062"/>
              <a:gd name="connsiteY1" fmla="*/ 0 h 3420105"/>
              <a:gd name="connsiteX2" fmla="*/ 3334852 w 3347062"/>
              <a:gd name="connsiteY2" fmla="*/ 7308 h 3420105"/>
              <a:gd name="connsiteX3" fmla="*/ 3343275 w 3347062"/>
              <a:gd name="connsiteY3" fmla="*/ 1713707 h 3420105"/>
              <a:gd name="connsiteX4" fmla="*/ 3343275 w 3347062"/>
              <a:gd name="connsiteY4" fmla="*/ 1735138 h 3420105"/>
              <a:gd name="connsiteX5" fmla="*/ 3320564 w 3347062"/>
              <a:gd name="connsiteY5" fmla="*/ 3413126 h 3420105"/>
              <a:gd name="connsiteX6" fmla="*/ 1636762 w 3347062"/>
              <a:gd name="connsiteY6" fmla="*/ 3420105 h 3420105"/>
              <a:gd name="connsiteX7" fmla="*/ 0 w 3347062"/>
              <a:gd name="connsiteY7" fmla="*/ 1706562 h 3420105"/>
              <a:gd name="connsiteX8" fmla="*/ 0 w 3347062"/>
              <a:gd name="connsiteY8" fmla="*/ 1706563 h 3420105"/>
              <a:gd name="connsiteX0" fmla="*/ 0 w 3347062"/>
              <a:gd name="connsiteY0" fmla="*/ 1706563 h 3420105"/>
              <a:gd name="connsiteX1" fmla="*/ 1706563 w 3347062"/>
              <a:gd name="connsiteY1" fmla="*/ 0 h 3420105"/>
              <a:gd name="connsiteX2" fmla="*/ 3334852 w 3347062"/>
              <a:gd name="connsiteY2" fmla="*/ 164 h 3420105"/>
              <a:gd name="connsiteX3" fmla="*/ 3343275 w 3347062"/>
              <a:gd name="connsiteY3" fmla="*/ 1713707 h 3420105"/>
              <a:gd name="connsiteX4" fmla="*/ 3343275 w 3347062"/>
              <a:gd name="connsiteY4" fmla="*/ 1735138 h 3420105"/>
              <a:gd name="connsiteX5" fmla="*/ 3320564 w 3347062"/>
              <a:gd name="connsiteY5" fmla="*/ 3413126 h 3420105"/>
              <a:gd name="connsiteX6" fmla="*/ 1636762 w 3347062"/>
              <a:gd name="connsiteY6" fmla="*/ 3420105 h 3420105"/>
              <a:gd name="connsiteX7" fmla="*/ 0 w 3347062"/>
              <a:gd name="connsiteY7" fmla="*/ 1706562 h 3420105"/>
              <a:gd name="connsiteX8" fmla="*/ 0 w 3347062"/>
              <a:gd name="connsiteY8" fmla="*/ 1706563 h 3420105"/>
              <a:gd name="connsiteX0" fmla="*/ 0 w 3347062"/>
              <a:gd name="connsiteY0" fmla="*/ 1706563 h 3428175"/>
              <a:gd name="connsiteX1" fmla="*/ 1706563 w 3347062"/>
              <a:gd name="connsiteY1" fmla="*/ 0 h 3428175"/>
              <a:gd name="connsiteX2" fmla="*/ 3334852 w 3347062"/>
              <a:gd name="connsiteY2" fmla="*/ 164 h 3428175"/>
              <a:gd name="connsiteX3" fmla="*/ 3343275 w 3347062"/>
              <a:gd name="connsiteY3" fmla="*/ 1713707 h 3428175"/>
              <a:gd name="connsiteX4" fmla="*/ 3343275 w 3347062"/>
              <a:gd name="connsiteY4" fmla="*/ 1735138 h 3428175"/>
              <a:gd name="connsiteX5" fmla="*/ 3327707 w 3347062"/>
              <a:gd name="connsiteY5" fmla="*/ 3427413 h 3428175"/>
              <a:gd name="connsiteX6" fmla="*/ 1636762 w 3347062"/>
              <a:gd name="connsiteY6" fmla="*/ 3420105 h 3428175"/>
              <a:gd name="connsiteX7" fmla="*/ 0 w 3347062"/>
              <a:gd name="connsiteY7" fmla="*/ 1706562 h 3428175"/>
              <a:gd name="connsiteX8" fmla="*/ 0 w 3347062"/>
              <a:gd name="connsiteY8" fmla="*/ 1706563 h 3428175"/>
              <a:gd name="connsiteX0" fmla="*/ 0 w 3343275"/>
              <a:gd name="connsiteY0" fmla="*/ 1706563 h 3428175"/>
              <a:gd name="connsiteX1" fmla="*/ 1706563 w 3343275"/>
              <a:gd name="connsiteY1" fmla="*/ 0 h 3428175"/>
              <a:gd name="connsiteX2" fmla="*/ 2919290 w 3343275"/>
              <a:gd name="connsiteY2" fmla="*/ 164 h 3428175"/>
              <a:gd name="connsiteX3" fmla="*/ 3343275 w 3343275"/>
              <a:gd name="connsiteY3" fmla="*/ 1713707 h 3428175"/>
              <a:gd name="connsiteX4" fmla="*/ 3343275 w 3343275"/>
              <a:gd name="connsiteY4" fmla="*/ 1735138 h 3428175"/>
              <a:gd name="connsiteX5" fmla="*/ 3327707 w 3343275"/>
              <a:gd name="connsiteY5" fmla="*/ 3427413 h 3428175"/>
              <a:gd name="connsiteX6" fmla="*/ 1636762 w 3343275"/>
              <a:gd name="connsiteY6" fmla="*/ 3420105 h 3428175"/>
              <a:gd name="connsiteX7" fmla="*/ 0 w 3343275"/>
              <a:gd name="connsiteY7" fmla="*/ 1706562 h 3428175"/>
              <a:gd name="connsiteX8" fmla="*/ 0 w 3343275"/>
              <a:gd name="connsiteY8" fmla="*/ 1706563 h 3428175"/>
              <a:gd name="connsiteX0" fmla="*/ 0 w 3343275"/>
              <a:gd name="connsiteY0" fmla="*/ 1706563 h 3428175"/>
              <a:gd name="connsiteX1" fmla="*/ 1706563 w 3343275"/>
              <a:gd name="connsiteY1" fmla="*/ 0 h 3428175"/>
              <a:gd name="connsiteX2" fmla="*/ 2919290 w 3343275"/>
              <a:gd name="connsiteY2" fmla="*/ 164 h 3428175"/>
              <a:gd name="connsiteX3" fmla="*/ 3343275 w 3343275"/>
              <a:gd name="connsiteY3" fmla="*/ 1713707 h 3428175"/>
              <a:gd name="connsiteX4" fmla="*/ 3343275 w 3343275"/>
              <a:gd name="connsiteY4" fmla="*/ 1735138 h 3428175"/>
              <a:gd name="connsiteX5" fmla="*/ 3327707 w 3343275"/>
              <a:gd name="connsiteY5" fmla="*/ 3427413 h 3428175"/>
              <a:gd name="connsiteX6" fmla="*/ 1636762 w 3343275"/>
              <a:gd name="connsiteY6" fmla="*/ 3420105 h 3428175"/>
              <a:gd name="connsiteX7" fmla="*/ 0 w 3343275"/>
              <a:gd name="connsiteY7" fmla="*/ 1706562 h 3428175"/>
              <a:gd name="connsiteX8" fmla="*/ 0 w 3343275"/>
              <a:gd name="connsiteY8" fmla="*/ 1706563 h 3428175"/>
              <a:gd name="connsiteX0" fmla="*/ 0 w 3343275"/>
              <a:gd name="connsiteY0" fmla="*/ 1706563 h 3428175"/>
              <a:gd name="connsiteX1" fmla="*/ 1706563 w 3343275"/>
              <a:gd name="connsiteY1" fmla="*/ 0 h 3428175"/>
              <a:gd name="connsiteX2" fmla="*/ 2919290 w 3343275"/>
              <a:gd name="connsiteY2" fmla="*/ 164 h 3428175"/>
              <a:gd name="connsiteX3" fmla="*/ 2917324 w 3343275"/>
              <a:gd name="connsiteY3" fmla="*/ 1744875 h 3428175"/>
              <a:gd name="connsiteX4" fmla="*/ 3343275 w 3343275"/>
              <a:gd name="connsiteY4" fmla="*/ 1735138 h 3428175"/>
              <a:gd name="connsiteX5" fmla="*/ 3327707 w 3343275"/>
              <a:gd name="connsiteY5" fmla="*/ 3427413 h 3428175"/>
              <a:gd name="connsiteX6" fmla="*/ 1636762 w 3343275"/>
              <a:gd name="connsiteY6" fmla="*/ 3420105 h 3428175"/>
              <a:gd name="connsiteX7" fmla="*/ 0 w 3343275"/>
              <a:gd name="connsiteY7" fmla="*/ 1706562 h 3428175"/>
              <a:gd name="connsiteX8" fmla="*/ 0 w 3343275"/>
              <a:gd name="connsiteY8" fmla="*/ 1706563 h 3428175"/>
              <a:gd name="connsiteX0" fmla="*/ 0 w 3328034"/>
              <a:gd name="connsiteY0" fmla="*/ 1706563 h 3428305"/>
              <a:gd name="connsiteX1" fmla="*/ 1706563 w 3328034"/>
              <a:gd name="connsiteY1" fmla="*/ 0 h 3428305"/>
              <a:gd name="connsiteX2" fmla="*/ 2919290 w 3328034"/>
              <a:gd name="connsiteY2" fmla="*/ 164 h 3428305"/>
              <a:gd name="connsiteX3" fmla="*/ 2917324 w 3328034"/>
              <a:gd name="connsiteY3" fmla="*/ 1744875 h 3428305"/>
              <a:gd name="connsiteX4" fmla="*/ 2913861 w 3328034"/>
              <a:gd name="connsiteY4" fmla="*/ 1852881 h 3428305"/>
              <a:gd name="connsiteX5" fmla="*/ 3327707 w 3328034"/>
              <a:gd name="connsiteY5" fmla="*/ 3427413 h 3428305"/>
              <a:gd name="connsiteX6" fmla="*/ 1636762 w 3328034"/>
              <a:gd name="connsiteY6" fmla="*/ 3420105 h 3428305"/>
              <a:gd name="connsiteX7" fmla="*/ 0 w 3328034"/>
              <a:gd name="connsiteY7" fmla="*/ 1706562 h 3428305"/>
              <a:gd name="connsiteX8" fmla="*/ 0 w 3328034"/>
              <a:gd name="connsiteY8" fmla="*/ 1706563 h 3428305"/>
              <a:gd name="connsiteX0" fmla="*/ 0 w 2919326"/>
              <a:gd name="connsiteY0" fmla="*/ 1706563 h 3421389"/>
              <a:gd name="connsiteX1" fmla="*/ 1706563 w 2919326"/>
              <a:gd name="connsiteY1" fmla="*/ 0 h 3421389"/>
              <a:gd name="connsiteX2" fmla="*/ 2919290 w 2919326"/>
              <a:gd name="connsiteY2" fmla="*/ 164 h 3421389"/>
              <a:gd name="connsiteX3" fmla="*/ 2917324 w 2919326"/>
              <a:gd name="connsiteY3" fmla="*/ 1744875 h 3421389"/>
              <a:gd name="connsiteX4" fmla="*/ 2913861 w 2919326"/>
              <a:gd name="connsiteY4" fmla="*/ 1852881 h 3421389"/>
              <a:gd name="connsiteX5" fmla="*/ 2908682 w 2919326"/>
              <a:gd name="connsiteY5" fmla="*/ 3420488 h 3421389"/>
              <a:gd name="connsiteX6" fmla="*/ 1636762 w 2919326"/>
              <a:gd name="connsiteY6" fmla="*/ 3420105 h 3421389"/>
              <a:gd name="connsiteX7" fmla="*/ 0 w 2919326"/>
              <a:gd name="connsiteY7" fmla="*/ 1706562 h 3421389"/>
              <a:gd name="connsiteX8" fmla="*/ 0 w 2919326"/>
              <a:gd name="connsiteY8" fmla="*/ 1706563 h 34213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19326" h="3421389">
                <a:moveTo>
                  <a:pt x="0" y="1706563"/>
                </a:moveTo>
                <a:cubicBezTo>
                  <a:pt x="0" y="764054"/>
                  <a:pt x="764054" y="0"/>
                  <a:pt x="1706563" y="0"/>
                </a:cubicBezTo>
                <a:lnTo>
                  <a:pt x="2919290" y="164"/>
                </a:lnTo>
                <a:cubicBezTo>
                  <a:pt x="2919640" y="246200"/>
                  <a:pt x="2917324" y="802366"/>
                  <a:pt x="2917324" y="1744875"/>
                </a:cubicBezTo>
                <a:lnTo>
                  <a:pt x="2913861" y="1852881"/>
                </a:lnTo>
                <a:cubicBezTo>
                  <a:pt x="2913861" y="2795390"/>
                  <a:pt x="2922503" y="3449063"/>
                  <a:pt x="2908682" y="3420488"/>
                </a:cubicBezTo>
                <a:lnTo>
                  <a:pt x="1636762" y="3420105"/>
                </a:lnTo>
                <a:cubicBezTo>
                  <a:pt x="694253" y="3420105"/>
                  <a:pt x="0" y="2649071"/>
                  <a:pt x="0" y="1706562"/>
                </a:cubicBezTo>
                <a:lnTo>
                  <a:pt x="0" y="1706563"/>
                </a:lnTo>
                <a:close/>
              </a:path>
            </a:pathLst>
          </a:custGeom>
          <a:solidFill>
            <a:schemeClr val="bg2"/>
          </a:solidFill>
        </p:spPr>
        <p:txBody>
          <a:bodyPr anchor="ctr"/>
          <a:lstStyle>
            <a:lvl1pPr algn="ctr">
              <a:spcBef>
                <a:spcPts val="0"/>
              </a:spcBef>
              <a:defRPr sz="1333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6" name="Espace réservé du texte 21">
            <a:extLst>
              <a:ext uri="{FF2B5EF4-FFF2-40B4-BE49-F238E27FC236}">
                <a16:creationId xmlns="" xmlns:a16="http://schemas.microsoft.com/office/drawing/2014/main" id="{1CF2F66D-98D0-4A4B-AB46-3490906AA00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 flipH="1">
            <a:off x="6864349" y="1940835"/>
            <a:ext cx="5327651" cy="2094060"/>
          </a:xfrm>
          <a:custGeom>
            <a:avLst/>
            <a:gdLst>
              <a:gd name="connsiteX0" fmla="*/ 0 w 1836075"/>
              <a:gd name="connsiteY0" fmla="*/ 0 h 1752600"/>
              <a:gd name="connsiteX1" fmla="*/ 918038 w 1836075"/>
              <a:gd name="connsiteY1" fmla="*/ 0 h 1752600"/>
              <a:gd name="connsiteX2" fmla="*/ 1836076 w 1836075"/>
              <a:gd name="connsiteY2" fmla="*/ 876300 h 1752600"/>
              <a:gd name="connsiteX3" fmla="*/ 918038 w 1836075"/>
              <a:gd name="connsiteY3" fmla="*/ 1752600 h 1752600"/>
              <a:gd name="connsiteX4" fmla="*/ 0 w 1836075"/>
              <a:gd name="connsiteY4" fmla="*/ 1752600 h 1752600"/>
              <a:gd name="connsiteX5" fmla="*/ 0 w 1836075"/>
              <a:gd name="connsiteY5" fmla="*/ 0 h 1752600"/>
              <a:gd name="connsiteX0" fmla="*/ 0 w 3115601"/>
              <a:gd name="connsiteY0" fmla="*/ 3175 h 1752600"/>
              <a:gd name="connsiteX1" fmla="*/ 2197563 w 3115601"/>
              <a:gd name="connsiteY1" fmla="*/ 0 h 1752600"/>
              <a:gd name="connsiteX2" fmla="*/ 3115601 w 3115601"/>
              <a:gd name="connsiteY2" fmla="*/ 876300 h 1752600"/>
              <a:gd name="connsiteX3" fmla="*/ 2197563 w 3115601"/>
              <a:gd name="connsiteY3" fmla="*/ 1752600 h 1752600"/>
              <a:gd name="connsiteX4" fmla="*/ 1279525 w 3115601"/>
              <a:gd name="connsiteY4" fmla="*/ 1752600 h 1752600"/>
              <a:gd name="connsiteX5" fmla="*/ 0 w 3115601"/>
              <a:gd name="connsiteY5" fmla="*/ 3175 h 1752600"/>
              <a:gd name="connsiteX0" fmla="*/ 662631 w 3778232"/>
              <a:gd name="connsiteY0" fmla="*/ 3175 h 1767714"/>
              <a:gd name="connsiteX1" fmla="*/ 2860194 w 3778232"/>
              <a:gd name="connsiteY1" fmla="*/ 0 h 1767714"/>
              <a:gd name="connsiteX2" fmla="*/ 3778232 w 3778232"/>
              <a:gd name="connsiteY2" fmla="*/ 876300 h 1767714"/>
              <a:gd name="connsiteX3" fmla="*/ 2860194 w 3778232"/>
              <a:gd name="connsiteY3" fmla="*/ 1752600 h 1767714"/>
              <a:gd name="connsiteX4" fmla="*/ 0 w 3778232"/>
              <a:gd name="connsiteY4" fmla="*/ 1767714 h 1767714"/>
              <a:gd name="connsiteX5" fmla="*/ 662631 w 3778232"/>
              <a:gd name="connsiteY5" fmla="*/ 3175 h 1767714"/>
              <a:gd name="connsiteX0" fmla="*/ 0 w 3784398"/>
              <a:gd name="connsiteY0" fmla="*/ 3175 h 1767714"/>
              <a:gd name="connsiteX1" fmla="*/ 2866360 w 3784398"/>
              <a:gd name="connsiteY1" fmla="*/ 0 h 1767714"/>
              <a:gd name="connsiteX2" fmla="*/ 3784398 w 3784398"/>
              <a:gd name="connsiteY2" fmla="*/ 876300 h 1767714"/>
              <a:gd name="connsiteX3" fmla="*/ 2866360 w 3784398"/>
              <a:gd name="connsiteY3" fmla="*/ 1752600 h 1767714"/>
              <a:gd name="connsiteX4" fmla="*/ 6166 w 3784398"/>
              <a:gd name="connsiteY4" fmla="*/ 1767714 h 1767714"/>
              <a:gd name="connsiteX5" fmla="*/ 0 w 378439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800106 w 4578338"/>
              <a:gd name="connsiteY4" fmla="*/ 1767714 h 1767714"/>
              <a:gd name="connsiteX5" fmla="*/ 0 w 457833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6166 w 4578338"/>
              <a:gd name="connsiteY4" fmla="*/ 1767714 h 1767714"/>
              <a:gd name="connsiteX5" fmla="*/ 0 w 4578338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01499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167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54184"/>
              <a:gd name="connsiteX1" fmla="*/ 4255633 w 5173671"/>
              <a:gd name="connsiteY1" fmla="*/ 0 h 1754184"/>
              <a:gd name="connsiteX2" fmla="*/ 5173671 w 5173671"/>
              <a:gd name="connsiteY2" fmla="*/ 876300 h 1754184"/>
              <a:gd name="connsiteX3" fmla="*/ 4255633 w 5173671"/>
              <a:gd name="connsiteY3" fmla="*/ 1752600 h 1754184"/>
              <a:gd name="connsiteX4" fmla="*/ 39993 w 5173671"/>
              <a:gd name="connsiteY4" fmla="*/ 1754184 h 1754184"/>
              <a:gd name="connsiteX5" fmla="*/ 0 w 5173671"/>
              <a:gd name="connsiteY5" fmla="*/ 3175 h 1754184"/>
              <a:gd name="connsiteX0" fmla="*/ 0 w 5157228"/>
              <a:gd name="connsiteY0" fmla="*/ 3175 h 1754184"/>
              <a:gd name="connsiteX1" fmla="*/ 4239190 w 5157228"/>
              <a:gd name="connsiteY1" fmla="*/ 0 h 1754184"/>
              <a:gd name="connsiteX2" fmla="*/ 5157228 w 5157228"/>
              <a:gd name="connsiteY2" fmla="*/ 876300 h 1754184"/>
              <a:gd name="connsiteX3" fmla="*/ 4239190 w 5157228"/>
              <a:gd name="connsiteY3" fmla="*/ 1752600 h 1754184"/>
              <a:gd name="connsiteX4" fmla="*/ 23550 w 5157228"/>
              <a:gd name="connsiteY4" fmla="*/ 1754184 h 1754184"/>
              <a:gd name="connsiteX5" fmla="*/ 0 w 5157228"/>
              <a:gd name="connsiteY5" fmla="*/ 3175 h 1754184"/>
              <a:gd name="connsiteX0" fmla="*/ 5523 w 5162751"/>
              <a:gd name="connsiteY0" fmla="*/ 3175 h 1752601"/>
              <a:gd name="connsiteX1" fmla="*/ 4244713 w 5162751"/>
              <a:gd name="connsiteY1" fmla="*/ 0 h 1752601"/>
              <a:gd name="connsiteX2" fmla="*/ 5162751 w 5162751"/>
              <a:gd name="connsiteY2" fmla="*/ 876300 h 1752601"/>
              <a:gd name="connsiteX3" fmla="*/ 4244713 w 5162751"/>
              <a:gd name="connsiteY3" fmla="*/ 1752600 h 1752601"/>
              <a:gd name="connsiteX4" fmla="*/ 297 w 5162751"/>
              <a:gd name="connsiteY4" fmla="*/ 1745962 h 1752601"/>
              <a:gd name="connsiteX5" fmla="*/ 5523 w 5162751"/>
              <a:gd name="connsiteY5" fmla="*/ 3175 h 1752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2751" h="1752601">
                <a:moveTo>
                  <a:pt x="5523" y="3175"/>
                </a:moveTo>
                <a:lnTo>
                  <a:pt x="4244713" y="0"/>
                </a:lnTo>
                <a:cubicBezTo>
                  <a:pt x="4751731" y="0"/>
                  <a:pt x="5162751" y="392333"/>
                  <a:pt x="5162751" y="876300"/>
                </a:cubicBezTo>
                <a:cubicBezTo>
                  <a:pt x="5162751" y="1360267"/>
                  <a:pt x="4751731" y="1752600"/>
                  <a:pt x="4244713" y="1752600"/>
                </a:cubicBezTo>
                <a:lnTo>
                  <a:pt x="297" y="1745962"/>
                </a:lnTo>
                <a:cubicBezTo>
                  <a:pt x="-1758" y="1157782"/>
                  <a:pt x="7578" y="591355"/>
                  <a:pt x="5523" y="3175"/>
                </a:cubicBez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lIns="432000" tIns="288000" anchor="t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="" xmlns:a16="http://schemas.microsoft.com/office/drawing/2014/main" id="{7E6947B0-C05E-0443-AFDD-652509F57F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440150" y="3008806"/>
            <a:ext cx="4637716" cy="768349"/>
          </a:xfrm>
        </p:spPr>
        <p:txBody>
          <a:bodyPr anchor="t"/>
          <a:lstStyle>
            <a:lvl1pPr>
              <a:spcBef>
                <a:spcPts val="0"/>
              </a:spcBef>
              <a:defRPr sz="3200" b="0" i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suite du titre ou sous-titre</a:t>
            </a:r>
          </a:p>
        </p:txBody>
      </p:sp>
    </p:spTree>
    <p:extLst>
      <p:ext uri="{BB962C8B-B14F-4D97-AF65-F5344CB8AC3E}">
        <p14:creationId xmlns:p14="http://schemas.microsoft.com/office/powerpoint/2010/main" val="291180004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925">
          <p15:clr>
            <a:srgbClr val="FBAE40"/>
          </p15:clr>
        </p15:guide>
        <p15:guide id="2" pos="57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Ha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e l’image 10">
            <a:extLst>
              <a:ext uri="{FF2B5EF4-FFF2-40B4-BE49-F238E27FC236}">
                <a16:creationId xmlns="" xmlns:a16="http://schemas.microsoft.com/office/drawing/2014/main" id="{D0C3EC6A-0661-F041-9A6C-86419EA2A5F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-2927" y="-1288"/>
            <a:ext cx="11500659" cy="3433591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337 w 17319171"/>
              <a:gd name="connsiteY0" fmla="*/ 0 h 5170951"/>
              <a:gd name="connsiteX1" fmla="*/ 14714995 w 17319171"/>
              <a:gd name="connsiteY1" fmla="*/ 5901 h 5170951"/>
              <a:gd name="connsiteX2" fmla="*/ 17319171 w 17319171"/>
              <a:gd name="connsiteY2" fmla="*/ 2587920 h 5170951"/>
              <a:gd name="connsiteX3" fmla="*/ 14714995 w 17319171"/>
              <a:gd name="connsiteY3" fmla="*/ 5169939 h 5170951"/>
              <a:gd name="connsiteX4" fmla="*/ 27419 w 17319171"/>
              <a:gd name="connsiteY4" fmla="*/ 5170951 h 5170951"/>
              <a:gd name="connsiteX5" fmla="*/ 337 w 17319171"/>
              <a:gd name="connsiteY5" fmla="*/ 0 h 5170951"/>
              <a:gd name="connsiteX0" fmla="*/ 1040 w 17319874"/>
              <a:gd name="connsiteY0" fmla="*/ 0 h 5170951"/>
              <a:gd name="connsiteX1" fmla="*/ 14715698 w 17319874"/>
              <a:gd name="connsiteY1" fmla="*/ 5901 h 5170951"/>
              <a:gd name="connsiteX2" fmla="*/ 17319874 w 17319874"/>
              <a:gd name="connsiteY2" fmla="*/ 2587920 h 5170951"/>
              <a:gd name="connsiteX3" fmla="*/ 14715698 w 17319874"/>
              <a:gd name="connsiteY3" fmla="*/ 5169939 h 5170951"/>
              <a:gd name="connsiteX4" fmla="*/ 2621 w 17319874"/>
              <a:gd name="connsiteY4" fmla="*/ 5170951 h 5170951"/>
              <a:gd name="connsiteX5" fmla="*/ 1040 w 17319874"/>
              <a:gd name="connsiteY5" fmla="*/ 0 h 51709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19874" h="5170951">
                <a:moveTo>
                  <a:pt x="1040" y="0"/>
                </a:moveTo>
                <a:lnTo>
                  <a:pt x="14715698" y="5901"/>
                </a:lnTo>
                <a:cubicBezTo>
                  <a:pt x="16153945" y="5901"/>
                  <a:pt x="17319874" y="1161910"/>
                  <a:pt x="17319874" y="2587920"/>
                </a:cubicBezTo>
                <a:cubicBezTo>
                  <a:pt x="17319874" y="4013930"/>
                  <a:pt x="16153945" y="5169939"/>
                  <a:pt x="14715698" y="5169939"/>
                </a:cubicBezTo>
                <a:lnTo>
                  <a:pt x="2621" y="5170951"/>
                </a:lnTo>
                <a:cubicBezTo>
                  <a:pt x="6768" y="3455825"/>
                  <a:pt x="-3107" y="1715126"/>
                  <a:pt x="1040" y="0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anchor="ctr"/>
          <a:lstStyle>
            <a:lvl1pPr algn="ctr">
              <a:spcBef>
                <a:spcPts val="0"/>
              </a:spcBef>
              <a:defRPr sz="1333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9" name="Espace réservé du texte 21">
            <a:extLst>
              <a:ext uri="{FF2B5EF4-FFF2-40B4-BE49-F238E27FC236}">
                <a16:creationId xmlns="" xmlns:a16="http://schemas.microsoft.com/office/drawing/2014/main" id="{25A854F1-84F3-3443-951D-80C3A05454A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0" y="726737"/>
            <a:ext cx="5327651" cy="2094060"/>
          </a:xfrm>
          <a:custGeom>
            <a:avLst/>
            <a:gdLst>
              <a:gd name="connsiteX0" fmla="*/ 0 w 1836075"/>
              <a:gd name="connsiteY0" fmla="*/ 0 h 1752600"/>
              <a:gd name="connsiteX1" fmla="*/ 918038 w 1836075"/>
              <a:gd name="connsiteY1" fmla="*/ 0 h 1752600"/>
              <a:gd name="connsiteX2" fmla="*/ 1836076 w 1836075"/>
              <a:gd name="connsiteY2" fmla="*/ 876300 h 1752600"/>
              <a:gd name="connsiteX3" fmla="*/ 918038 w 1836075"/>
              <a:gd name="connsiteY3" fmla="*/ 1752600 h 1752600"/>
              <a:gd name="connsiteX4" fmla="*/ 0 w 1836075"/>
              <a:gd name="connsiteY4" fmla="*/ 1752600 h 1752600"/>
              <a:gd name="connsiteX5" fmla="*/ 0 w 1836075"/>
              <a:gd name="connsiteY5" fmla="*/ 0 h 1752600"/>
              <a:gd name="connsiteX0" fmla="*/ 0 w 3115601"/>
              <a:gd name="connsiteY0" fmla="*/ 3175 h 1752600"/>
              <a:gd name="connsiteX1" fmla="*/ 2197563 w 3115601"/>
              <a:gd name="connsiteY1" fmla="*/ 0 h 1752600"/>
              <a:gd name="connsiteX2" fmla="*/ 3115601 w 3115601"/>
              <a:gd name="connsiteY2" fmla="*/ 876300 h 1752600"/>
              <a:gd name="connsiteX3" fmla="*/ 2197563 w 3115601"/>
              <a:gd name="connsiteY3" fmla="*/ 1752600 h 1752600"/>
              <a:gd name="connsiteX4" fmla="*/ 1279525 w 3115601"/>
              <a:gd name="connsiteY4" fmla="*/ 1752600 h 1752600"/>
              <a:gd name="connsiteX5" fmla="*/ 0 w 3115601"/>
              <a:gd name="connsiteY5" fmla="*/ 3175 h 1752600"/>
              <a:gd name="connsiteX0" fmla="*/ 662631 w 3778232"/>
              <a:gd name="connsiteY0" fmla="*/ 3175 h 1767714"/>
              <a:gd name="connsiteX1" fmla="*/ 2860194 w 3778232"/>
              <a:gd name="connsiteY1" fmla="*/ 0 h 1767714"/>
              <a:gd name="connsiteX2" fmla="*/ 3778232 w 3778232"/>
              <a:gd name="connsiteY2" fmla="*/ 876300 h 1767714"/>
              <a:gd name="connsiteX3" fmla="*/ 2860194 w 3778232"/>
              <a:gd name="connsiteY3" fmla="*/ 1752600 h 1767714"/>
              <a:gd name="connsiteX4" fmla="*/ 0 w 3778232"/>
              <a:gd name="connsiteY4" fmla="*/ 1767714 h 1767714"/>
              <a:gd name="connsiteX5" fmla="*/ 662631 w 3778232"/>
              <a:gd name="connsiteY5" fmla="*/ 3175 h 1767714"/>
              <a:gd name="connsiteX0" fmla="*/ 0 w 3784398"/>
              <a:gd name="connsiteY0" fmla="*/ 3175 h 1767714"/>
              <a:gd name="connsiteX1" fmla="*/ 2866360 w 3784398"/>
              <a:gd name="connsiteY1" fmla="*/ 0 h 1767714"/>
              <a:gd name="connsiteX2" fmla="*/ 3784398 w 3784398"/>
              <a:gd name="connsiteY2" fmla="*/ 876300 h 1767714"/>
              <a:gd name="connsiteX3" fmla="*/ 2866360 w 3784398"/>
              <a:gd name="connsiteY3" fmla="*/ 1752600 h 1767714"/>
              <a:gd name="connsiteX4" fmla="*/ 6166 w 3784398"/>
              <a:gd name="connsiteY4" fmla="*/ 1767714 h 1767714"/>
              <a:gd name="connsiteX5" fmla="*/ 0 w 378439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800106 w 4578338"/>
              <a:gd name="connsiteY4" fmla="*/ 1767714 h 1767714"/>
              <a:gd name="connsiteX5" fmla="*/ 0 w 457833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6166 w 4578338"/>
              <a:gd name="connsiteY4" fmla="*/ 1767714 h 1767714"/>
              <a:gd name="connsiteX5" fmla="*/ 0 w 4578338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01499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167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54184"/>
              <a:gd name="connsiteX1" fmla="*/ 4255633 w 5173671"/>
              <a:gd name="connsiteY1" fmla="*/ 0 h 1754184"/>
              <a:gd name="connsiteX2" fmla="*/ 5173671 w 5173671"/>
              <a:gd name="connsiteY2" fmla="*/ 876300 h 1754184"/>
              <a:gd name="connsiteX3" fmla="*/ 4255633 w 5173671"/>
              <a:gd name="connsiteY3" fmla="*/ 1752600 h 1754184"/>
              <a:gd name="connsiteX4" fmla="*/ 39993 w 5173671"/>
              <a:gd name="connsiteY4" fmla="*/ 1754184 h 1754184"/>
              <a:gd name="connsiteX5" fmla="*/ 0 w 5173671"/>
              <a:gd name="connsiteY5" fmla="*/ 3175 h 1754184"/>
              <a:gd name="connsiteX0" fmla="*/ 0 w 5157228"/>
              <a:gd name="connsiteY0" fmla="*/ 3175 h 1754184"/>
              <a:gd name="connsiteX1" fmla="*/ 4239190 w 5157228"/>
              <a:gd name="connsiteY1" fmla="*/ 0 h 1754184"/>
              <a:gd name="connsiteX2" fmla="*/ 5157228 w 5157228"/>
              <a:gd name="connsiteY2" fmla="*/ 876300 h 1754184"/>
              <a:gd name="connsiteX3" fmla="*/ 4239190 w 5157228"/>
              <a:gd name="connsiteY3" fmla="*/ 1752600 h 1754184"/>
              <a:gd name="connsiteX4" fmla="*/ 23550 w 5157228"/>
              <a:gd name="connsiteY4" fmla="*/ 1754184 h 1754184"/>
              <a:gd name="connsiteX5" fmla="*/ 0 w 5157228"/>
              <a:gd name="connsiteY5" fmla="*/ 3175 h 1754184"/>
              <a:gd name="connsiteX0" fmla="*/ 5523 w 5162751"/>
              <a:gd name="connsiteY0" fmla="*/ 3175 h 1752601"/>
              <a:gd name="connsiteX1" fmla="*/ 4244713 w 5162751"/>
              <a:gd name="connsiteY1" fmla="*/ 0 h 1752601"/>
              <a:gd name="connsiteX2" fmla="*/ 5162751 w 5162751"/>
              <a:gd name="connsiteY2" fmla="*/ 876300 h 1752601"/>
              <a:gd name="connsiteX3" fmla="*/ 4244713 w 5162751"/>
              <a:gd name="connsiteY3" fmla="*/ 1752600 h 1752601"/>
              <a:gd name="connsiteX4" fmla="*/ 297 w 5162751"/>
              <a:gd name="connsiteY4" fmla="*/ 1745962 h 1752601"/>
              <a:gd name="connsiteX5" fmla="*/ 5523 w 5162751"/>
              <a:gd name="connsiteY5" fmla="*/ 3175 h 1752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2751" h="1752601">
                <a:moveTo>
                  <a:pt x="5523" y="3175"/>
                </a:moveTo>
                <a:lnTo>
                  <a:pt x="4244713" y="0"/>
                </a:lnTo>
                <a:cubicBezTo>
                  <a:pt x="4751731" y="0"/>
                  <a:pt x="5162751" y="392333"/>
                  <a:pt x="5162751" y="876300"/>
                </a:cubicBezTo>
                <a:cubicBezTo>
                  <a:pt x="5162751" y="1360267"/>
                  <a:pt x="4751731" y="1752600"/>
                  <a:pt x="4244713" y="1752600"/>
                </a:cubicBezTo>
                <a:lnTo>
                  <a:pt x="297" y="1745962"/>
                </a:lnTo>
                <a:cubicBezTo>
                  <a:pt x="-1758" y="1157782"/>
                  <a:pt x="7578" y="591355"/>
                  <a:pt x="5523" y="3175"/>
                </a:cubicBezTo>
                <a:close/>
              </a:path>
            </a:pathLst>
          </a:custGeom>
          <a:solidFill>
            <a:schemeClr val="tx2">
              <a:alpha val="90000"/>
            </a:schemeClr>
          </a:solidFill>
        </p:spPr>
        <p:txBody>
          <a:bodyPr lIns="288000" tIns="180000" anchor="t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20" name="Espace réservé du texte 19">
            <a:extLst>
              <a:ext uri="{FF2B5EF4-FFF2-40B4-BE49-F238E27FC236}">
                <a16:creationId xmlns="" xmlns:a16="http://schemas.microsoft.com/office/drawing/2014/main" id="{7E6947B0-C05E-0443-AFDD-652509F57FC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2166" y="1715647"/>
            <a:ext cx="4637716" cy="768349"/>
          </a:xfrm>
        </p:spPr>
        <p:txBody>
          <a:bodyPr anchor="t"/>
          <a:lstStyle>
            <a:lvl1pPr>
              <a:spcBef>
                <a:spcPts val="0"/>
              </a:spcBef>
              <a:defRPr sz="3200" b="0" i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suite du titre ou sous-titre</a:t>
            </a:r>
          </a:p>
        </p:txBody>
      </p:sp>
      <p:sp>
        <p:nvSpPr>
          <p:cNvPr id="17" name="Espace réservé du texte 16">
            <a:extLst>
              <a:ext uri="{FF2B5EF4-FFF2-40B4-BE49-F238E27FC236}">
                <a16:creationId xmlns="" xmlns:a16="http://schemas.microsoft.com/office/drawing/2014/main" id="{4447A2F8-7575-B74B-8EB6-8046632356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35183" y="3741687"/>
            <a:ext cx="5041900" cy="228023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8" name="Espace réservé du texte 16">
            <a:extLst>
              <a:ext uri="{FF2B5EF4-FFF2-40B4-BE49-F238E27FC236}">
                <a16:creationId xmlns="" xmlns:a16="http://schemas.microsoft.com/office/drawing/2014/main" id="{C06F3422-D7AE-7445-9848-EA5B270EE355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8721" y="3739899"/>
            <a:ext cx="5038096" cy="2281869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010274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llustration B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e l’image 10">
            <a:extLst>
              <a:ext uri="{FF2B5EF4-FFF2-40B4-BE49-F238E27FC236}">
                <a16:creationId xmlns="" xmlns:a16="http://schemas.microsoft.com/office/drawing/2014/main" id="{7D598E55-08EA-D347-99BC-0183DF8E8FC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-16685" y="3157423"/>
            <a:ext cx="11506448" cy="3091699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440 w 17328593"/>
              <a:gd name="connsiteY0" fmla="*/ 3418 h 5183140"/>
              <a:gd name="connsiteX1" fmla="*/ 14724417 w 17328593"/>
              <a:gd name="connsiteY1" fmla="*/ 0 h 5183140"/>
              <a:gd name="connsiteX2" fmla="*/ 17328593 w 17328593"/>
              <a:gd name="connsiteY2" fmla="*/ 2582019 h 5183140"/>
              <a:gd name="connsiteX3" fmla="*/ 14724417 w 17328593"/>
              <a:gd name="connsiteY3" fmla="*/ 5164038 h 5183140"/>
              <a:gd name="connsiteX4" fmla="*/ 18751 w 17328593"/>
              <a:gd name="connsiteY4" fmla="*/ 5183140 h 5183140"/>
              <a:gd name="connsiteX5" fmla="*/ 440 w 17328593"/>
              <a:gd name="connsiteY5" fmla="*/ 3418 h 5183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28593" h="5183140">
                <a:moveTo>
                  <a:pt x="440" y="3418"/>
                </a:moveTo>
                <a:lnTo>
                  <a:pt x="14724417" y="0"/>
                </a:lnTo>
                <a:cubicBezTo>
                  <a:pt x="16162664" y="0"/>
                  <a:pt x="17328593" y="1156009"/>
                  <a:pt x="17328593" y="2582019"/>
                </a:cubicBezTo>
                <a:cubicBezTo>
                  <a:pt x="17328593" y="4008029"/>
                  <a:pt x="16162664" y="5164038"/>
                  <a:pt x="14724417" y="5164038"/>
                </a:cubicBezTo>
                <a:lnTo>
                  <a:pt x="18751" y="5183140"/>
                </a:lnTo>
                <a:cubicBezTo>
                  <a:pt x="22898" y="3468014"/>
                  <a:pt x="-3707" y="1718544"/>
                  <a:pt x="440" y="3418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fr-FR" sz="1333" b="0" dirty="0"/>
            </a:lvl1pPr>
          </a:lstStyle>
          <a:p>
            <a:pPr lvl="0" algn="ctr"/>
            <a:r>
              <a:rPr lang="fr-FR" dirty="0"/>
              <a:t>Cliquez sur l'icône pour ajouter une image</a:t>
            </a:r>
          </a:p>
        </p:txBody>
      </p:sp>
      <p:sp>
        <p:nvSpPr>
          <p:cNvPr id="7" name="Espace réservé du texte 21">
            <a:extLst>
              <a:ext uri="{FF2B5EF4-FFF2-40B4-BE49-F238E27FC236}">
                <a16:creationId xmlns="" xmlns:a16="http://schemas.microsoft.com/office/drawing/2014/main" id="{B73DC2C2-B571-6F44-97F9-4DB1B8404F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-6310" y="4152851"/>
            <a:ext cx="5333961" cy="2096271"/>
          </a:xfrm>
          <a:custGeom>
            <a:avLst/>
            <a:gdLst>
              <a:gd name="connsiteX0" fmla="*/ 0 w 1836075"/>
              <a:gd name="connsiteY0" fmla="*/ 0 h 1752600"/>
              <a:gd name="connsiteX1" fmla="*/ 918038 w 1836075"/>
              <a:gd name="connsiteY1" fmla="*/ 0 h 1752600"/>
              <a:gd name="connsiteX2" fmla="*/ 1836076 w 1836075"/>
              <a:gd name="connsiteY2" fmla="*/ 876300 h 1752600"/>
              <a:gd name="connsiteX3" fmla="*/ 918038 w 1836075"/>
              <a:gd name="connsiteY3" fmla="*/ 1752600 h 1752600"/>
              <a:gd name="connsiteX4" fmla="*/ 0 w 1836075"/>
              <a:gd name="connsiteY4" fmla="*/ 1752600 h 1752600"/>
              <a:gd name="connsiteX5" fmla="*/ 0 w 1836075"/>
              <a:gd name="connsiteY5" fmla="*/ 0 h 1752600"/>
              <a:gd name="connsiteX0" fmla="*/ 0 w 3115601"/>
              <a:gd name="connsiteY0" fmla="*/ 3175 h 1752600"/>
              <a:gd name="connsiteX1" fmla="*/ 2197563 w 3115601"/>
              <a:gd name="connsiteY1" fmla="*/ 0 h 1752600"/>
              <a:gd name="connsiteX2" fmla="*/ 3115601 w 3115601"/>
              <a:gd name="connsiteY2" fmla="*/ 876300 h 1752600"/>
              <a:gd name="connsiteX3" fmla="*/ 2197563 w 3115601"/>
              <a:gd name="connsiteY3" fmla="*/ 1752600 h 1752600"/>
              <a:gd name="connsiteX4" fmla="*/ 1279525 w 3115601"/>
              <a:gd name="connsiteY4" fmla="*/ 1752600 h 1752600"/>
              <a:gd name="connsiteX5" fmla="*/ 0 w 3115601"/>
              <a:gd name="connsiteY5" fmla="*/ 3175 h 1752600"/>
              <a:gd name="connsiteX0" fmla="*/ 662631 w 3778232"/>
              <a:gd name="connsiteY0" fmla="*/ 3175 h 1767714"/>
              <a:gd name="connsiteX1" fmla="*/ 2860194 w 3778232"/>
              <a:gd name="connsiteY1" fmla="*/ 0 h 1767714"/>
              <a:gd name="connsiteX2" fmla="*/ 3778232 w 3778232"/>
              <a:gd name="connsiteY2" fmla="*/ 876300 h 1767714"/>
              <a:gd name="connsiteX3" fmla="*/ 2860194 w 3778232"/>
              <a:gd name="connsiteY3" fmla="*/ 1752600 h 1767714"/>
              <a:gd name="connsiteX4" fmla="*/ 0 w 3778232"/>
              <a:gd name="connsiteY4" fmla="*/ 1767714 h 1767714"/>
              <a:gd name="connsiteX5" fmla="*/ 662631 w 3778232"/>
              <a:gd name="connsiteY5" fmla="*/ 3175 h 1767714"/>
              <a:gd name="connsiteX0" fmla="*/ 0 w 3784398"/>
              <a:gd name="connsiteY0" fmla="*/ 3175 h 1767714"/>
              <a:gd name="connsiteX1" fmla="*/ 2866360 w 3784398"/>
              <a:gd name="connsiteY1" fmla="*/ 0 h 1767714"/>
              <a:gd name="connsiteX2" fmla="*/ 3784398 w 3784398"/>
              <a:gd name="connsiteY2" fmla="*/ 876300 h 1767714"/>
              <a:gd name="connsiteX3" fmla="*/ 2866360 w 3784398"/>
              <a:gd name="connsiteY3" fmla="*/ 1752600 h 1767714"/>
              <a:gd name="connsiteX4" fmla="*/ 6166 w 3784398"/>
              <a:gd name="connsiteY4" fmla="*/ 1767714 h 1767714"/>
              <a:gd name="connsiteX5" fmla="*/ 0 w 378439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800106 w 4578338"/>
              <a:gd name="connsiteY4" fmla="*/ 1767714 h 1767714"/>
              <a:gd name="connsiteX5" fmla="*/ 0 w 457833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6166 w 4578338"/>
              <a:gd name="connsiteY4" fmla="*/ 1767714 h 1767714"/>
              <a:gd name="connsiteX5" fmla="*/ 0 w 4578338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01499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167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54184"/>
              <a:gd name="connsiteX1" fmla="*/ 4255633 w 5173671"/>
              <a:gd name="connsiteY1" fmla="*/ 0 h 1754184"/>
              <a:gd name="connsiteX2" fmla="*/ 5173671 w 5173671"/>
              <a:gd name="connsiteY2" fmla="*/ 876300 h 1754184"/>
              <a:gd name="connsiteX3" fmla="*/ 4255633 w 5173671"/>
              <a:gd name="connsiteY3" fmla="*/ 1752600 h 1754184"/>
              <a:gd name="connsiteX4" fmla="*/ 39993 w 5173671"/>
              <a:gd name="connsiteY4" fmla="*/ 1754184 h 1754184"/>
              <a:gd name="connsiteX5" fmla="*/ 0 w 5173671"/>
              <a:gd name="connsiteY5" fmla="*/ 3175 h 1754184"/>
              <a:gd name="connsiteX0" fmla="*/ 0 w 5157228"/>
              <a:gd name="connsiteY0" fmla="*/ 3175 h 1754184"/>
              <a:gd name="connsiteX1" fmla="*/ 4239190 w 5157228"/>
              <a:gd name="connsiteY1" fmla="*/ 0 h 1754184"/>
              <a:gd name="connsiteX2" fmla="*/ 5157228 w 5157228"/>
              <a:gd name="connsiteY2" fmla="*/ 876300 h 1754184"/>
              <a:gd name="connsiteX3" fmla="*/ 4239190 w 5157228"/>
              <a:gd name="connsiteY3" fmla="*/ 1752600 h 1754184"/>
              <a:gd name="connsiteX4" fmla="*/ 23550 w 5157228"/>
              <a:gd name="connsiteY4" fmla="*/ 1754184 h 1754184"/>
              <a:gd name="connsiteX5" fmla="*/ 0 w 5157228"/>
              <a:gd name="connsiteY5" fmla="*/ 3175 h 1754184"/>
              <a:gd name="connsiteX0" fmla="*/ 5523 w 5162751"/>
              <a:gd name="connsiteY0" fmla="*/ 3175 h 1752601"/>
              <a:gd name="connsiteX1" fmla="*/ 4244713 w 5162751"/>
              <a:gd name="connsiteY1" fmla="*/ 0 h 1752601"/>
              <a:gd name="connsiteX2" fmla="*/ 5162751 w 5162751"/>
              <a:gd name="connsiteY2" fmla="*/ 876300 h 1752601"/>
              <a:gd name="connsiteX3" fmla="*/ 4244713 w 5162751"/>
              <a:gd name="connsiteY3" fmla="*/ 1752600 h 1752601"/>
              <a:gd name="connsiteX4" fmla="*/ 297 w 5162751"/>
              <a:gd name="connsiteY4" fmla="*/ 1745962 h 1752601"/>
              <a:gd name="connsiteX5" fmla="*/ 5523 w 5162751"/>
              <a:gd name="connsiteY5" fmla="*/ 3175 h 1752601"/>
              <a:gd name="connsiteX0" fmla="*/ 0 w 5180507"/>
              <a:gd name="connsiteY0" fmla="*/ 0 h 1754451"/>
              <a:gd name="connsiteX1" fmla="*/ 4262469 w 5180507"/>
              <a:gd name="connsiteY1" fmla="*/ 1851 h 1754451"/>
              <a:gd name="connsiteX2" fmla="*/ 5180507 w 5180507"/>
              <a:gd name="connsiteY2" fmla="*/ 878151 h 1754451"/>
              <a:gd name="connsiteX3" fmla="*/ 4262469 w 5180507"/>
              <a:gd name="connsiteY3" fmla="*/ 1754451 h 1754451"/>
              <a:gd name="connsiteX4" fmla="*/ 18053 w 5180507"/>
              <a:gd name="connsiteY4" fmla="*/ 1747813 h 1754451"/>
              <a:gd name="connsiteX5" fmla="*/ 0 w 5180507"/>
              <a:gd name="connsiteY5" fmla="*/ 0 h 1754451"/>
              <a:gd name="connsiteX0" fmla="*/ 78 w 5163125"/>
              <a:gd name="connsiteY0" fmla="*/ 3175 h 1752600"/>
              <a:gd name="connsiteX1" fmla="*/ 4245087 w 5163125"/>
              <a:gd name="connsiteY1" fmla="*/ 0 h 1752600"/>
              <a:gd name="connsiteX2" fmla="*/ 5163125 w 5163125"/>
              <a:gd name="connsiteY2" fmla="*/ 876300 h 1752600"/>
              <a:gd name="connsiteX3" fmla="*/ 4245087 w 5163125"/>
              <a:gd name="connsiteY3" fmla="*/ 1752600 h 1752600"/>
              <a:gd name="connsiteX4" fmla="*/ 671 w 5163125"/>
              <a:gd name="connsiteY4" fmla="*/ 1745962 h 1752600"/>
              <a:gd name="connsiteX5" fmla="*/ 78 w 5163125"/>
              <a:gd name="connsiteY5" fmla="*/ 3175 h 1752600"/>
              <a:gd name="connsiteX0" fmla="*/ 0 w 5168867"/>
              <a:gd name="connsiteY0" fmla="*/ 0 h 1754451"/>
              <a:gd name="connsiteX1" fmla="*/ 4250829 w 5168867"/>
              <a:gd name="connsiteY1" fmla="*/ 1851 h 1754451"/>
              <a:gd name="connsiteX2" fmla="*/ 5168867 w 5168867"/>
              <a:gd name="connsiteY2" fmla="*/ 878151 h 1754451"/>
              <a:gd name="connsiteX3" fmla="*/ 4250829 w 5168867"/>
              <a:gd name="connsiteY3" fmla="*/ 1754451 h 1754451"/>
              <a:gd name="connsiteX4" fmla="*/ 6413 w 5168867"/>
              <a:gd name="connsiteY4" fmla="*/ 1747813 h 1754451"/>
              <a:gd name="connsiteX5" fmla="*/ 0 w 5168867"/>
              <a:gd name="connsiteY5" fmla="*/ 0 h 1754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8867" h="1754451">
                <a:moveTo>
                  <a:pt x="0" y="0"/>
                </a:moveTo>
                <a:lnTo>
                  <a:pt x="4250829" y="1851"/>
                </a:lnTo>
                <a:cubicBezTo>
                  <a:pt x="4757847" y="1851"/>
                  <a:pt x="5168867" y="394184"/>
                  <a:pt x="5168867" y="878151"/>
                </a:cubicBezTo>
                <a:cubicBezTo>
                  <a:pt x="5168867" y="1362118"/>
                  <a:pt x="4757847" y="1754451"/>
                  <a:pt x="4250829" y="1754451"/>
                </a:cubicBezTo>
                <a:lnTo>
                  <a:pt x="6413" y="1747813"/>
                </a:lnTo>
                <a:cubicBezTo>
                  <a:pt x="4358" y="1159633"/>
                  <a:pt x="2055" y="588180"/>
                  <a:pt x="0" y="0"/>
                </a:cubicBezTo>
                <a:close/>
              </a:path>
            </a:pathLst>
          </a:custGeom>
          <a:solidFill>
            <a:schemeClr val="accent2">
              <a:alpha val="90000"/>
            </a:schemeClr>
          </a:solidFill>
        </p:spPr>
        <p:txBody>
          <a:bodyPr lIns="288000" tIns="180000" anchor="t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sp>
        <p:nvSpPr>
          <p:cNvPr id="8" name="Espace réservé du texte 19">
            <a:extLst>
              <a:ext uri="{FF2B5EF4-FFF2-40B4-BE49-F238E27FC236}">
                <a16:creationId xmlns="" xmlns:a16="http://schemas.microsoft.com/office/drawing/2014/main" id="{0A22F86C-0E47-EC47-9F5E-76BBA38BBFA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02166" y="5143975"/>
            <a:ext cx="4637716" cy="768349"/>
          </a:xfrm>
        </p:spPr>
        <p:txBody>
          <a:bodyPr anchor="t"/>
          <a:lstStyle>
            <a:lvl1pPr>
              <a:defRPr sz="3200" b="0" i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suite du titre ou sous-titre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="" xmlns:a16="http://schemas.microsoft.com/office/drawing/2014/main" id="{540665D2-052A-2140-8A21-C05E25310DC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335183" y="548218"/>
            <a:ext cx="5041900" cy="235272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14" name="Espace réservé du texte 16">
            <a:extLst>
              <a:ext uri="{FF2B5EF4-FFF2-40B4-BE49-F238E27FC236}">
                <a16:creationId xmlns="" xmlns:a16="http://schemas.microsoft.com/office/drawing/2014/main" id="{EEEBED4B-FF97-A442-8946-6E9A0E634957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14918" y="548218"/>
            <a:ext cx="5041900" cy="235272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1559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émoignage, intro, citation..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080522AF-6559-D84B-B0B7-CACA5F85E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1" name="Espace réservé du texte 10">
            <a:extLst>
              <a:ext uri="{FF2B5EF4-FFF2-40B4-BE49-F238E27FC236}">
                <a16:creationId xmlns="" xmlns:a16="http://schemas.microsoft.com/office/drawing/2014/main" id="{0894E055-8C9E-CD4A-BCF8-B8C7A150645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488591" y="2130770"/>
            <a:ext cx="5593799" cy="3074428"/>
          </a:xfrm>
        </p:spPr>
        <p:txBody>
          <a:bodyPr/>
          <a:lstStyle>
            <a:lvl1pPr>
              <a:spcBef>
                <a:spcPts val="0"/>
              </a:spcBef>
              <a:defRPr lang="fr-FR" sz="2667" b="1" smtClean="0">
                <a:effectLst/>
              </a:defRPr>
            </a:lvl1pPr>
          </a:lstStyle>
          <a:p>
            <a:r>
              <a:rPr lang="fr-FR" dirty="0"/>
              <a:t>Texte en exergue</a:t>
            </a:r>
          </a:p>
        </p:txBody>
      </p:sp>
      <p:sp>
        <p:nvSpPr>
          <p:cNvPr id="12" name="Espace réservé de l’image 10">
            <a:extLst>
              <a:ext uri="{FF2B5EF4-FFF2-40B4-BE49-F238E27FC236}">
                <a16:creationId xmlns="" xmlns:a16="http://schemas.microsoft.com/office/drawing/2014/main" id="{33C6E487-75F5-2C42-AE66-B84BB62A713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 bwMode="gray">
          <a:xfrm>
            <a:off x="-4853" y="1780518"/>
            <a:ext cx="4470719" cy="3656263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6 w 6282634"/>
              <a:gd name="connsiteY0" fmla="*/ 37599 h 5164038"/>
              <a:gd name="connsiteX1" fmla="*/ 3678458 w 6282634"/>
              <a:gd name="connsiteY1" fmla="*/ 0 h 5164038"/>
              <a:gd name="connsiteX2" fmla="*/ 6282634 w 6282634"/>
              <a:gd name="connsiteY2" fmla="*/ 2582019 h 5164038"/>
              <a:gd name="connsiteX3" fmla="*/ 3678458 w 6282634"/>
              <a:gd name="connsiteY3" fmla="*/ 5164038 h 5164038"/>
              <a:gd name="connsiteX4" fmla="*/ 1851833 w 6282634"/>
              <a:gd name="connsiteY4" fmla="*/ 5157818 h 5164038"/>
              <a:gd name="connsiteX5" fmla="*/ 6 w 6282634"/>
              <a:gd name="connsiteY5" fmla="*/ 37599 h 5164038"/>
              <a:gd name="connsiteX0" fmla="*/ 6 w 6293137"/>
              <a:gd name="connsiteY0" fmla="*/ 6092 h 5164038"/>
              <a:gd name="connsiteX1" fmla="*/ 3688961 w 6293137"/>
              <a:gd name="connsiteY1" fmla="*/ 0 h 5164038"/>
              <a:gd name="connsiteX2" fmla="*/ 6293137 w 6293137"/>
              <a:gd name="connsiteY2" fmla="*/ 2582019 h 5164038"/>
              <a:gd name="connsiteX3" fmla="*/ 3688961 w 6293137"/>
              <a:gd name="connsiteY3" fmla="*/ 5164038 h 5164038"/>
              <a:gd name="connsiteX4" fmla="*/ 1862336 w 6293137"/>
              <a:gd name="connsiteY4" fmla="*/ 5157818 h 5164038"/>
              <a:gd name="connsiteX5" fmla="*/ 6 w 6293137"/>
              <a:gd name="connsiteY5" fmla="*/ 6092 h 5164038"/>
              <a:gd name="connsiteX0" fmla="*/ 22662 w 6315793"/>
              <a:gd name="connsiteY0" fmla="*/ 6092 h 5164038"/>
              <a:gd name="connsiteX1" fmla="*/ 3711617 w 6315793"/>
              <a:gd name="connsiteY1" fmla="*/ 0 h 5164038"/>
              <a:gd name="connsiteX2" fmla="*/ 6315793 w 6315793"/>
              <a:gd name="connsiteY2" fmla="*/ 2582019 h 5164038"/>
              <a:gd name="connsiteX3" fmla="*/ 3711617 w 6315793"/>
              <a:gd name="connsiteY3" fmla="*/ 5164038 h 5164038"/>
              <a:gd name="connsiteX4" fmla="*/ 0 w 6315793"/>
              <a:gd name="connsiteY4" fmla="*/ 5135641 h 5164038"/>
              <a:gd name="connsiteX5" fmla="*/ 22662 w 6315793"/>
              <a:gd name="connsiteY5" fmla="*/ 6092 h 5164038"/>
              <a:gd name="connsiteX0" fmla="*/ 22662 w 6315793"/>
              <a:gd name="connsiteY0" fmla="*/ 6092 h 5165210"/>
              <a:gd name="connsiteX1" fmla="*/ 3711617 w 6315793"/>
              <a:gd name="connsiteY1" fmla="*/ 0 h 5165210"/>
              <a:gd name="connsiteX2" fmla="*/ 6315793 w 6315793"/>
              <a:gd name="connsiteY2" fmla="*/ 2582019 h 5165210"/>
              <a:gd name="connsiteX3" fmla="*/ 3711617 w 6315793"/>
              <a:gd name="connsiteY3" fmla="*/ 5164038 h 5165210"/>
              <a:gd name="connsiteX4" fmla="*/ 0 w 6315793"/>
              <a:gd name="connsiteY4" fmla="*/ 5165210 h 5165210"/>
              <a:gd name="connsiteX5" fmla="*/ 22662 w 6315793"/>
              <a:gd name="connsiteY5" fmla="*/ 6092 h 51652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315793" h="5165210">
                <a:moveTo>
                  <a:pt x="22662" y="6092"/>
                </a:moveTo>
                <a:lnTo>
                  <a:pt x="3711617" y="0"/>
                </a:lnTo>
                <a:cubicBezTo>
                  <a:pt x="5149864" y="0"/>
                  <a:pt x="6315793" y="1156009"/>
                  <a:pt x="6315793" y="2582019"/>
                </a:cubicBezTo>
                <a:cubicBezTo>
                  <a:pt x="6315793" y="4008029"/>
                  <a:pt x="5149864" y="5164038"/>
                  <a:pt x="3711617" y="5164038"/>
                </a:cubicBezTo>
                <a:lnTo>
                  <a:pt x="0" y="5165210"/>
                </a:lnTo>
                <a:cubicBezTo>
                  <a:pt x="4147" y="3450084"/>
                  <a:pt x="18515" y="1721218"/>
                  <a:pt x="22662" y="6092"/>
                </a:cubicBezTo>
                <a:close/>
              </a:path>
            </a:pathLst>
          </a:cu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spcBef>
                <a:spcPts val="0"/>
              </a:spcBef>
              <a:defRPr lang="fr-FR" sz="1333" b="0" dirty="0"/>
            </a:lvl1pPr>
          </a:lstStyle>
          <a:p>
            <a:pPr lvl="0" algn="ctr"/>
            <a:r>
              <a:rPr lang="fr-FR" dirty="0"/>
              <a:t>Cliquez sur l'icône pour ajouter une image</a:t>
            </a:r>
          </a:p>
        </p:txBody>
      </p:sp>
      <p:sp>
        <p:nvSpPr>
          <p:cNvPr id="14" name="Forme en L 13">
            <a:extLst>
              <a:ext uri="{FF2B5EF4-FFF2-40B4-BE49-F238E27FC236}">
                <a16:creationId xmlns="" xmlns:a16="http://schemas.microsoft.com/office/drawing/2014/main" id="{161DF7E9-3F7D-C542-956F-530BF28928CB}"/>
              </a:ext>
            </a:extLst>
          </p:cNvPr>
          <p:cNvSpPr/>
          <p:nvPr/>
        </p:nvSpPr>
        <p:spPr>
          <a:xfrm rot="5400000">
            <a:off x="5129718" y="1892830"/>
            <a:ext cx="377921" cy="377921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15" name="Forme en L 14">
            <a:extLst>
              <a:ext uri="{FF2B5EF4-FFF2-40B4-BE49-F238E27FC236}">
                <a16:creationId xmlns="" xmlns:a16="http://schemas.microsoft.com/office/drawing/2014/main" id="{E4050DC8-C539-9142-8CDA-EAF0AC9F5694}"/>
              </a:ext>
            </a:extLst>
          </p:cNvPr>
          <p:cNvSpPr/>
          <p:nvPr/>
        </p:nvSpPr>
        <p:spPr>
          <a:xfrm rot="16200000">
            <a:off x="10883721" y="5039032"/>
            <a:ext cx="377921" cy="377921"/>
          </a:xfrm>
          <a:prstGeom prst="corner">
            <a:avLst>
              <a:gd name="adj1" fmla="val 11936"/>
              <a:gd name="adj2" fmla="val 13034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351" dirty="0">
                <a:solidFill>
                  <a:srgbClr val="FFFFFF"/>
                </a:solidFill>
              </a:rPr>
              <a:t> </a:t>
            </a:r>
          </a:p>
        </p:txBody>
      </p:sp>
      <p:sp>
        <p:nvSpPr>
          <p:cNvPr id="13" name="Espace réservé du texte 2"/>
          <p:cNvSpPr>
            <a:spLocks noGrp="1"/>
          </p:cNvSpPr>
          <p:nvPr>
            <p:ph type="body" sz="quarter" idx="18"/>
          </p:nvPr>
        </p:nvSpPr>
        <p:spPr>
          <a:xfrm>
            <a:off x="816477" y="753356"/>
            <a:ext cx="10560607" cy="458837"/>
          </a:xfrm>
        </p:spPr>
        <p:txBody>
          <a:bodyPr/>
          <a:lstStyle>
            <a:lvl1pPr>
              <a:defRPr lang="fr-FR" sz="1600" b="0" i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Délai  3">
            <a:extLst>
              <a:ext uri="{FF2B5EF4-FFF2-40B4-BE49-F238E27FC236}">
                <a16:creationId xmlns="" xmlns:a16="http://schemas.microsoft.com/office/drawing/2014/main" id="{30FD58FE-48D2-4F5F-806B-FB15BE60BF57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10609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e 7">
            <a:extLst>
              <a:ext uri="{FF2B5EF4-FFF2-40B4-BE49-F238E27FC236}">
                <a16:creationId xmlns="" xmlns:a16="http://schemas.microsoft.com/office/drawing/2014/main" id="{40ED7584-76EA-7D43-AC5D-0863ACB7C048}"/>
              </a:ext>
            </a:extLst>
          </p:cNvPr>
          <p:cNvGrpSpPr/>
          <p:nvPr/>
        </p:nvGrpSpPr>
        <p:grpSpPr>
          <a:xfrm>
            <a:off x="1295467" y="1633881"/>
            <a:ext cx="1548380" cy="2275172"/>
            <a:chOff x="0" y="1558926"/>
            <a:chExt cx="2100263" cy="3086101"/>
          </a:xfrm>
          <a:solidFill>
            <a:schemeClr val="accent2"/>
          </a:solidFill>
        </p:grpSpPr>
        <p:sp>
          <p:nvSpPr>
            <p:cNvPr id="9" name="Freeform 11">
              <a:extLst>
                <a:ext uri="{FF2B5EF4-FFF2-40B4-BE49-F238E27FC236}">
                  <a16:creationId xmlns="" xmlns:a16="http://schemas.microsoft.com/office/drawing/2014/main" id="{6BDC159A-0FE5-EA42-B0BA-832000495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1808164"/>
              <a:ext cx="663575" cy="841375"/>
            </a:xfrm>
            <a:custGeom>
              <a:avLst/>
              <a:gdLst>
                <a:gd name="T0" fmla="*/ 302 w 302"/>
                <a:gd name="T1" fmla="*/ 151 h 383"/>
                <a:gd name="T2" fmla="*/ 151 w 302"/>
                <a:gd name="T3" fmla="*/ 0 h 383"/>
                <a:gd name="T4" fmla="*/ 0 w 302"/>
                <a:gd name="T5" fmla="*/ 151 h 383"/>
                <a:gd name="T6" fmla="*/ 0 w 302"/>
                <a:gd name="T7" fmla="*/ 232 h 383"/>
                <a:gd name="T8" fmla="*/ 151 w 302"/>
                <a:gd name="T9" fmla="*/ 383 h 383"/>
                <a:gd name="T10" fmla="*/ 302 w 302"/>
                <a:gd name="T11" fmla="*/ 232 h 383"/>
                <a:gd name="T12" fmla="*/ 302 w 302"/>
                <a:gd name="T13" fmla="*/ 1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383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218"/>
                    <a:pt x="0" y="232"/>
                  </a:cubicBezTo>
                  <a:cubicBezTo>
                    <a:pt x="0" y="315"/>
                    <a:pt x="67" y="383"/>
                    <a:pt x="151" y="383"/>
                  </a:cubicBezTo>
                  <a:cubicBezTo>
                    <a:pt x="234" y="383"/>
                    <a:pt x="302" y="315"/>
                    <a:pt x="302" y="232"/>
                  </a:cubicBezTo>
                  <a:cubicBezTo>
                    <a:pt x="302" y="218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0" name="Freeform 12">
              <a:extLst>
                <a:ext uri="{FF2B5EF4-FFF2-40B4-BE49-F238E27FC236}">
                  <a16:creationId xmlns="" xmlns:a16="http://schemas.microsoft.com/office/drawing/2014/main" id="{00964268-E39D-8A41-B6A8-BDD8C5A05C8D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1" name="Freeform 13">
              <a:extLst>
                <a:ext uri="{FF2B5EF4-FFF2-40B4-BE49-F238E27FC236}">
                  <a16:creationId xmlns="" xmlns:a16="http://schemas.microsoft.com/office/drawing/2014/main" id="{1B23E117-13E7-C748-B05A-9FE798BDBB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75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2" name="Freeform 14">
              <a:extLst>
                <a:ext uri="{FF2B5EF4-FFF2-40B4-BE49-F238E27FC236}">
                  <a16:creationId xmlns="" xmlns:a16="http://schemas.microsoft.com/office/drawing/2014/main" id="{3BF01581-3981-8E4F-825E-2C41231C14D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4530726"/>
              <a:ext cx="131763" cy="112713"/>
            </a:xfrm>
            <a:custGeom>
              <a:avLst/>
              <a:gdLst>
                <a:gd name="T0" fmla="*/ 60 w 60"/>
                <a:gd name="T1" fmla="*/ 37 h 51"/>
                <a:gd name="T2" fmla="*/ 41 w 60"/>
                <a:gd name="T3" fmla="*/ 51 h 51"/>
                <a:gd name="T4" fmla="*/ 0 w 60"/>
                <a:gd name="T5" fmla="*/ 51 h 51"/>
                <a:gd name="T6" fmla="*/ 0 w 60"/>
                <a:gd name="T7" fmla="*/ 0 h 51"/>
                <a:gd name="T8" fmla="*/ 41 w 60"/>
                <a:gd name="T9" fmla="*/ 0 h 51"/>
                <a:gd name="T10" fmla="*/ 58 w 60"/>
                <a:gd name="T11" fmla="*/ 14 h 51"/>
                <a:gd name="T12" fmla="*/ 51 w 60"/>
                <a:gd name="T13" fmla="*/ 25 h 51"/>
                <a:gd name="T14" fmla="*/ 60 w 60"/>
                <a:gd name="T15" fmla="*/ 37 h 51"/>
                <a:gd name="T16" fmla="*/ 50 w 60"/>
                <a:gd name="T17" fmla="*/ 14 h 51"/>
                <a:gd name="T18" fmla="*/ 42 w 60"/>
                <a:gd name="T19" fmla="*/ 8 h 51"/>
                <a:gd name="T20" fmla="*/ 9 w 60"/>
                <a:gd name="T21" fmla="*/ 8 h 51"/>
                <a:gd name="T22" fmla="*/ 9 w 60"/>
                <a:gd name="T23" fmla="*/ 21 h 51"/>
                <a:gd name="T24" fmla="*/ 41 w 60"/>
                <a:gd name="T25" fmla="*/ 21 h 51"/>
                <a:gd name="T26" fmla="*/ 50 w 60"/>
                <a:gd name="T27" fmla="*/ 14 h 51"/>
                <a:gd name="T28" fmla="*/ 51 w 60"/>
                <a:gd name="T29" fmla="*/ 36 h 51"/>
                <a:gd name="T30" fmla="*/ 42 w 60"/>
                <a:gd name="T31" fmla="*/ 29 h 51"/>
                <a:gd name="T32" fmla="*/ 9 w 60"/>
                <a:gd name="T33" fmla="*/ 29 h 51"/>
                <a:gd name="T34" fmla="*/ 9 w 60"/>
                <a:gd name="T35" fmla="*/ 43 h 51"/>
                <a:gd name="T36" fmla="*/ 41 w 60"/>
                <a:gd name="T37" fmla="*/ 43 h 51"/>
                <a:gd name="T38" fmla="*/ 51 w 60"/>
                <a:gd name="T39" fmla="*/ 3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" h="51">
                  <a:moveTo>
                    <a:pt x="60" y="37"/>
                  </a:moveTo>
                  <a:cubicBezTo>
                    <a:pt x="60" y="46"/>
                    <a:pt x="53" y="51"/>
                    <a:pt x="41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2" y="0"/>
                    <a:pt x="58" y="5"/>
                    <a:pt x="58" y="14"/>
                  </a:cubicBezTo>
                  <a:cubicBezTo>
                    <a:pt x="58" y="19"/>
                    <a:pt x="56" y="22"/>
                    <a:pt x="51" y="25"/>
                  </a:cubicBezTo>
                  <a:cubicBezTo>
                    <a:pt x="57" y="26"/>
                    <a:pt x="60" y="31"/>
                    <a:pt x="60" y="37"/>
                  </a:cubicBezTo>
                  <a:close/>
                  <a:moveTo>
                    <a:pt x="50" y="14"/>
                  </a:moveTo>
                  <a:cubicBezTo>
                    <a:pt x="50" y="10"/>
                    <a:pt x="46" y="8"/>
                    <a:pt x="42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6" y="21"/>
                    <a:pt x="50" y="18"/>
                    <a:pt x="50" y="14"/>
                  </a:cubicBezTo>
                  <a:close/>
                  <a:moveTo>
                    <a:pt x="51" y="36"/>
                  </a:moveTo>
                  <a:cubicBezTo>
                    <a:pt x="51" y="31"/>
                    <a:pt x="48" y="29"/>
                    <a:pt x="4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8" y="43"/>
                    <a:pt x="51" y="41"/>
                    <a:pt x="51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3" name="Freeform 15">
              <a:extLst>
                <a:ext uri="{FF2B5EF4-FFF2-40B4-BE49-F238E27FC236}">
                  <a16:creationId xmlns="" xmlns:a16="http://schemas.microsoft.com/office/drawing/2014/main" id="{441EC853-1237-E543-BBA7-7FB2F1C173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38" y="4549776"/>
              <a:ext cx="100013" cy="93663"/>
            </a:xfrm>
            <a:custGeom>
              <a:avLst/>
              <a:gdLst>
                <a:gd name="T0" fmla="*/ 0 w 63"/>
                <a:gd name="T1" fmla="*/ 59 h 59"/>
                <a:gd name="T2" fmla="*/ 0 w 63"/>
                <a:gd name="T3" fmla="*/ 0 h 59"/>
                <a:gd name="T4" fmla="*/ 62 w 63"/>
                <a:gd name="T5" fmla="*/ 0 h 59"/>
                <a:gd name="T6" fmla="*/ 62 w 63"/>
                <a:gd name="T7" fmla="*/ 9 h 59"/>
                <a:gd name="T8" fmla="*/ 11 w 63"/>
                <a:gd name="T9" fmla="*/ 9 h 59"/>
                <a:gd name="T10" fmla="*/ 11 w 63"/>
                <a:gd name="T11" fmla="*/ 22 h 59"/>
                <a:gd name="T12" fmla="*/ 47 w 63"/>
                <a:gd name="T13" fmla="*/ 22 h 59"/>
                <a:gd name="T14" fmla="*/ 47 w 63"/>
                <a:gd name="T15" fmla="*/ 33 h 59"/>
                <a:gd name="T16" fmla="*/ 11 w 63"/>
                <a:gd name="T17" fmla="*/ 33 h 59"/>
                <a:gd name="T18" fmla="*/ 11 w 63"/>
                <a:gd name="T19" fmla="*/ 48 h 59"/>
                <a:gd name="T20" fmla="*/ 63 w 63"/>
                <a:gd name="T21" fmla="*/ 48 h 59"/>
                <a:gd name="T22" fmla="*/ 63 w 63"/>
                <a:gd name="T23" fmla="*/ 59 h 59"/>
                <a:gd name="T24" fmla="*/ 0 w 63"/>
                <a:gd name="T2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59">
                  <a:moveTo>
                    <a:pt x="0" y="59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9"/>
                  </a:lnTo>
                  <a:lnTo>
                    <a:pt x="11" y="9"/>
                  </a:lnTo>
                  <a:lnTo>
                    <a:pt x="11" y="22"/>
                  </a:lnTo>
                  <a:lnTo>
                    <a:pt x="47" y="22"/>
                  </a:lnTo>
                  <a:lnTo>
                    <a:pt x="47" y="33"/>
                  </a:lnTo>
                  <a:lnTo>
                    <a:pt x="11" y="33"/>
                  </a:lnTo>
                  <a:lnTo>
                    <a:pt x="11" y="48"/>
                  </a:lnTo>
                  <a:lnTo>
                    <a:pt x="63" y="48"/>
                  </a:lnTo>
                  <a:lnTo>
                    <a:pt x="63" y="59"/>
                  </a:lnTo>
                  <a:lnTo>
                    <a:pt x="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4" name="Freeform 16">
              <a:extLst>
                <a:ext uri="{FF2B5EF4-FFF2-40B4-BE49-F238E27FC236}">
                  <a16:creationId xmlns="" xmlns:a16="http://schemas.microsoft.com/office/drawing/2014/main" id="{3337DC2F-2535-8143-8281-01095C5ED9BD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00" y="4549776"/>
              <a:ext cx="125413" cy="93663"/>
            </a:xfrm>
            <a:custGeom>
              <a:avLst/>
              <a:gdLst>
                <a:gd name="T0" fmla="*/ 46 w 79"/>
                <a:gd name="T1" fmla="*/ 36 h 59"/>
                <a:gd name="T2" fmla="*/ 46 w 79"/>
                <a:gd name="T3" fmla="*/ 59 h 59"/>
                <a:gd name="T4" fmla="*/ 35 w 79"/>
                <a:gd name="T5" fmla="*/ 59 h 59"/>
                <a:gd name="T6" fmla="*/ 35 w 79"/>
                <a:gd name="T7" fmla="*/ 36 h 59"/>
                <a:gd name="T8" fmla="*/ 0 w 79"/>
                <a:gd name="T9" fmla="*/ 0 h 59"/>
                <a:gd name="T10" fmla="*/ 14 w 79"/>
                <a:gd name="T11" fmla="*/ 0 h 59"/>
                <a:gd name="T12" fmla="*/ 41 w 79"/>
                <a:gd name="T13" fmla="*/ 26 h 59"/>
                <a:gd name="T14" fmla="*/ 65 w 79"/>
                <a:gd name="T15" fmla="*/ 0 h 59"/>
                <a:gd name="T16" fmla="*/ 79 w 79"/>
                <a:gd name="T17" fmla="*/ 0 h 59"/>
                <a:gd name="T18" fmla="*/ 46 w 79"/>
                <a:gd name="T19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59">
                  <a:moveTo>
                    <a:pt x="46" y="36"/>
                  </a:moveTo>
                  <a:lnTo>
                    <a:pt x="46" y="59"/>
                  </a:lnTo>
                  <a:lnTo>
                    <a:pt x="35" y="59"/>
                  </a:lnTo>
                  <a:lnTo>
                    <a:pt x="35" y="36"/>
                  </a:lnTo>
                  <a:lnTo>
                    <a:pt x="0" y="0"/>
                  </a:lnTo>
                  <a:lnTo>
                    <a:pt x="14" y="0"/>
                  </a:lnTo>
                  <a:lnTo>
                    <a:pt x="41" y="26"/>
                  </a:lnTo>
                  <a:lnTo>
                    <a:pt x="65" y="0"/>
                  </a:lnTo>
                  <a:lnTo>
                    <a:pt x="79" y="0"/>
                  </a:lnTo>
                  <a:lnTo>
                    <a:pt x="4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5" name="Freeform 17">
              <a:extLst>
                <a:ext uri="{FF2B5EF4-FFF2-40B4-BE49-F238E27FC236}">
                  <a16:creationId xmlns="" xmlns:a16="http://schemas.microsoft.com/office/drawing/2014/main" id="{CA69CFB7-91EE-6E40-86DA-B9E598790B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288" y="4545014"/>
              <a:ext cx="123825" cy="100013"/>
            </a:xfrm>
            <a:custGeom>
              <a:avLst/>
              <a:gdLst>
                <a:gd name="T0" fmla="*/ 48 w 57"/>
                <a:gd name="T1" fmla="*/ 40 h 46"/>
                <a:gd name="T2" fmla="*/ 28 w 57"/>
                <a:gd name="T3" fmla="*/ 46 h 46"/>
                <a:gd name="T4" fmla="*/ 9 w 57"/>
                <a:gd name="T5" fmla="*/ 40 h 46"/>
                <a:gd name="T6" fmla="*/ 0 w 57"/>
                <a:gd name="T7" fmla="*/ 23 h 46"/>
                <a:gd name="T8" fmla="*/ 9 w 57"/>
                <a:gd name="T9" fmla="*/ 6 h 46"/>
                <a:gd name="T10" fmla="*/ 28 w 57"/>
                <a:gd name="T11" fmla="*/ 0 h 46"/>
                <a:gd name="T12" fmla="*/ 48 w 57"/>
                <a:gd name="T13" fmla="*/ 6 h 46"/>
                <a:gd name="T14" fmla="*/ 57 w 57"/>
                <a:gd name="T15" fmla="*/ 23 h 46"/>
                <a:gd name="T16" fmla="*/ 48 w 57"/>
                <a:gd name="T17" fmla="*/ 40 h 46"/>
                <a:gd name="T18" fmla="*/ 28 w 57"/>
                <a:gd name="T19" fmla="*/ 8 h 46"/>
                <a:gd name="T20" fmla="*/ 9 w 57"/>
                <a:gd name="T21" fmla="*/ 23 h 46"/>
                <a:gd name="T22" fmla="*/ 28 w 57"/>
                <a:gd name="T23" fmla="*/ 38 h 46"/>
                <a:gd name="T24" fmla="*/ 48 w 57"/>
                <a:gd name="T25" fmla="*/ 23 h 46"/>
                <a:gd name="T26" fmla="*/ 28 w 57"/>
                <a:gd name="T2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46">
                  <a:moveTo>
                    <a:pt x="48" y="40"/>
                  </a:moveTo>
                  <a:cubicBezTo>
                    <a:pt x="43" y="44"/>
                    <a:pt x="36" y="46"/>
                    <a:pt x="28" y="46"/>
                  </a:cubicBezTo>
                  <a:cubicBezTo>
                    <a:pt x="21" y="46"/>
                    <a:pt x="14" y="44"/>
                    <a:pt x="9" y="40"/>
                  </a:cubicBezTo>
                  <a:cubicBezTo>
                    <a:pt x="3" y="36"/>
                    <a:pt x="0" y="30"/>
                    <a:pt x="0" y="23"/>
                  </a:cubicBezTo>
                  <a:cubicBezTo>
                    <a:pt x="0" y="16"/>
                    <a:pt x="3" y="10"/>
                    <a:pt x="9" y="6"/>
                  </a:cubicBezTo>
                  <a:cubicBezTo>
                    <a:pt x="14" y="2"/>
                    <a:pt x="21" y="0"/>
                    <a:pt x="28" y="0"/>
                  </a:cubicBezTo>
                  <a:cubicBezTo>
                    <a:pt x="36" y="0"/>
                    <a:pt x="43" y="2"/>
                    <a:pt x="48" y="6"/>
                  </a:cubicBezTo>
                  <a:cubicBezTo>
                    <a:pt x="54" y="10"/>
                    <a:pt x="57" y="16"/>
                    <a:pt x="57" y="23"/>
                  </a:cubicBezTo>
                  <a:cubicBezTo>
                    <a:pt x="57" y="30"/>
                    <a:pt x="54" y="36"/>
                    <a:pt x="48" y="40"/>
                  </a:cubicBezTo>
                  <a:close/>
                  <a:moveTo>
                    <a:pt x="28" y="8"/>
                  </a:moveTo>
                  <a:cubicBezTo>
                    <a:pt x="17" y="8"/>
                    <a:pt x="9" y="14"/>
                    <a:pt x="9" y="23"/>
                  </a:cubicBezTo>
                  <a:cubicBezTo>
                    <a:pt x="9" y="32"/>
                    <a:pt x="16" y="38"/>
                    <a:pt x="28" y="38"/>
                  </a:cubicBezTo>
                  <a:cubicBezTo>
                    <a:pt x="40" y="38"/>
                    <a:pt x="48" y="32"/>
                    <a:pt x="48" y="23"/>
                  </a:cubicBezTo>
                  <a:cubicBezTo>
                    <a:pt x="48" y="14"/>
                    <a:pt x="40" y="8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6" name="Freeform 18">
              <a:extLst>
                <a:ext uri="{FF2B5EF4-FFF2-40B4-BE49-F238E27FC236}">
                  <a16:creationId xmlns="" xmlns:a16="http://schemas.microsoft.com/office/drawing/2014/main" id="{2293C467-E758-F04F-A887-9AD7012B3EB9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100" y="4549776"/>
              <a:ext cx="109538" cy="93663"/>
            </a:xfrm>
            <a:custGeom>
              <a:avLst/>
              <a:gdLst>
                <a:gd name="T0" fmla="*/ 51 w 69"/>
                <a:gd name="T1" fmla="*/ 59 h 59"/>
                <a:gd name="T2" fmla="*/ 11 w 69"/>
                <a:gd name="T3" fmla="*/ 9 h 59"/>
                <a:gd name="T4" fmla="*/ 11 w 69"/>
                <a:gd name="T5" fmla="*/ 59 h 59"/>
                <a:gd name="T6" fmla="*/ 0 w 69"/>
                <a:gd name="T7" fmla="*/ 59 h 59"/>
                <a:gd name="T8" fmla="*/ 0 w 69"/>
                <a:gd name="T9" fmla="*/ 0 h 59"/>
                <a:gd name="T10" fmla="*/ 16 w 69"/>
                <a:gd name="T11" fmla="*/ 0 h 59"/>
                <a:gd name="T12" fmla="*/ 57 w 69"/>
                <a:gd name="T13" fmla="*/ 48 h 59"/>
                <a:gd name="T14" fmla="*/ 57 w 69"/>
                <a:gd name="T15" fmla="*/ 0 h 59"/>
                <a:gd name="T16" fmla="*/ 69 w 69"/>
                <a:gd name="T17" fmla="*/ 0 h 59"/>
                <a:gd name="T18" fmla="*/ 69 w 69"/>
                <a:gd name="T19" fmla="*/ 59 h 59"/>
                <a:gd name="T20" fmla="*/ 51 w 69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59">
                  <a:moveTo>
                    <a:pt x="51" y="59"/>
                  </a:moveTo>
                  <a:lnTo>
                    <a:pt x="11" y="9"/>
                  </a:lnTo>
                  <a:lnTo>
                    <a:pt x="11" y="59"/>
                  </a:lnTo>
                  <a:lnTo>
                    <a:pt x="0" y="5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57" y="48"/>
                  </a:lnTo>
                  <a:lnTo>
                    <a:pt x="57" y="0"/>
                  </a:lnTo>
                  <a:lnTo>
                    <a:pt x="69" y="0"/>
                  </a:lnTo>
                  <a:lnTo>
                    <a:pt x="69" y="59"/>
                  </a:lnTo>
                  <a:lnTo>
                    <a:pt x="51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7" name="Freeform 19">
              <a:extLst>
                <a:ext uri="{FF2B5EF4-FFF2-40B4-BE49-F238E27FC236}">
                  <a16:creationId xmlns="" xmlns:a16="http://schemas.microsoft.com/office/drawing/2014/main" id="{BF858A57-2DAF-2149-A87E-35B769DCD50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800" y="4549776"/>
              <a:ext cx="117475" cy="93663"/>
            </a:xfrm>
            <a:custGeom>
              <a:avLst/>
              <a:gdLst>
                <a:gd name="T0" fmla="*/ 53 w 53"/>
                <a:gd name="T1" fmla="*/ 21 h 43"/>
                <a:gd name="T2" fmla="*/ 46 w 53"/>
                <a:gd name="T3" fmla="*/ 37 h 43"/>
                <a:gd name="T4" fmla="*/ 30 w 53"/>
                <a:gd name="T5" fmla="*/ 43 h 43"/>
                <a:gd name="T6" fmla="*/ 0 w 53"/>
                <a:gd name="T7" fmla="*/ 43 h 43"/>
                <a:gd name="T8" fmla="*/ 0 w 53"/>
                <a:gd name="T9" fmla="*/ 0 h 43"/>
                <a:gd name="T10" fmla="*/ 28 w 53"/>
                <a:gd name="T11" fmla="*/ 0 h 43"/>
                <a:gd name="T12" fmla="*/ 53 w 53"/>
                <a:gd name="T13" fmla="*/ 21 h 43"/>
                <a:gd name="T14" fmla="*/ 44 w 53"/>
                <a:gd name="T15" fmla="*/ 21 h 43"/>
                <a:gd name="T16" fmla="*/ 29 w 53"/>
                <a:gd name="T17" fmla="*/ 7 h 43"/>
                <a:gd name="T18" fmla="*/ 9 w 53"/>
                <a:gd name="T19" fmla="*/ 7 h 43"/>
                <a:gd name="T20" fmla="*/ 9 w 53"/>
                <a:gd name="T21" fmla="*/ 35 h 43"/>
                <a:gd name="T22" fmla="*/ 30 w 53"/>
                <a:gd name="T23" fmla="*/ 35 h 43"/>
                <a:gd name="T24" fmla="*/ 44 w 53"/>
                <a:gd name="T2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43">
                  <a:moveTo>
                    <a:pt x="53" y="21"/>
                  </a:moveTo>
                  <a:cubicBezTo>
                    <a:pt x="53" y="27"/>
                    <a:pt x="51" y="32"/>
                    <a:pt x="46" y="37"/>
                  </a:cubicBezTo>
                  <a:cubicBezTo>
                    <a:pt x="44" y="40"/>
                    <a:pt x="37" y="43"/>
                    <a:pt x="3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44" y="0"/>
                    <a:pt x="53" y="9"/>
                    <a:pt x="53" y="21"/>
                  </a:cubicBezTo>
                  <a:close/>
                  <a:moveTo>
                    <a:pt x="44" y="21"/>
                  </a:moveTo>
                  <a:cubicBezTo>
                    <a:pt x="44" y="13"/>
                    <a:pt x="38" y="7"/>
                    <a:pt x="2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9" y="35"/>
                    <a:pt x="44" y="29"/>
                    <a:pt x="44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8" name="Freeform 20">
              <a:extLst>
                <a:ext uri="{FF2B5EF4-FFF2-40B4-BE49-F238E27FC236}">
                  <a16:creationId xmlns="" xmlns:a16="http://schemas.microsoft.com/office/drawing/2014/main" id="{4DA130BC-D904-4D40-916B-38FB0A87828C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4527551"/>
              <a:ext cx="136525" cy="117475"/>
            </a:xfrm>
            <a:custGeom>
              <a:avLst/>
              <a:gdLst>
                <a:gd name="T0" fmla="*/ 54 w 62"/>
                <a:gd name="T1" fmla="*/ 16 h 54"/>
                <a:gd name="T2" fmla="*/ 33 w 62"/>
                <a:gd name="T3" fmla="*/ 8 h 54"/>
                <a:gd name="T4" fmla="*/ 9 w 62"/>
                <a:gd name="T5" fmla="*/ 27 h 54"/>
                <a:gd name="T6" fmla="*/ 33 w 62"/>
                <a:gd name="T7" fmla="*/ 46 h 54"/>
                <a:gd name="T8" fmla="*/ 54 w 62"/>
                <a:gd name="T9" fmla="*/ 38 h 54"/>
                <a:gd name="T10" fmla="*/ 62 w 62"/>
                <a:gd name="T11" fmla="*/ 42 h 54"/>
                <a:gd name="T12" fmla="*/ 33 w 62"/>
                <a:gd name="T13" fmla="*/ 54 h 54"/>
                <a:gd name="T14" fmla="*/ 11 w 62"/>
                <a:gd name="T15" fmla="*/ 47 h 54"/>
                <a:gd name="T16" fmla="*/ 0 w 62"/>
                <a:gd name="T17" fmla="*/ 27 h 54"/>
                <a:gd name="T18" fmla="*/ 11 w 62"/>
                <a:gd name="T19" fmla="*/ 7 h 54"/>
                <a:gd name="T20" fmla="*/ 33 w 62"/>
                <a:gd name="T21" fmla="*/ 0 h 54"/>
                <a:gd name="T22" fmla="*/ 62 w 62"/>
                <a:gd name="T23" fmla="*/ 14 h 54"/>
                <a:gd name="T24" fmla="*/ 54 w 62"/>
                <a:gd name="T25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54">
                  <a:moveTo>
                    <a:pt x="54" y="16"/>
                  </a:moveTo>
                  <a:cubicBezTo>
                    <a:pt x="49" y="11"/>
                    <a:pt x="42" y="8"/>
                    <a:pt x="33" y="8"/>
                  </a:cubicBezTo>
                  <a:cubicBezTo>
                    <a:pt x="19" y="8"/>
                    <a:pt x="9" y="16"/>
                    <a:pt x="9" y="27"/>
                  </a:cubicBezTo>
                  <a:cubicBezTo>
                    <a:pt x="9" y="39"/>
                    <a:pt x="18" y="46"/>
                    <a:pt x="33" y="46"/>
                  </a:cubicBezTo>
                  <a:cubicBezTo>
                    <a:pt x="42" y="46"/>
                    <a:pt x="49" y="44"/>
                    <a:pt x="54" y="38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54" y="51"/>
                    <a:pt x="45" y="54"/>
                    <a:pt x="33" y="54"/>
                  </a:cubicBezTo>
                  <a:cubicBezTo>
                    <a:pt x="24" y="54"/>
                    <a:pt x="16" y="51"/>
                    <a:pt x="11" y="47"/>
                  </a:cubicBezTo>
                  <a:cubicBezTo>
                    <a:pt x="4" y="42"/>
                    <a:pt x="0" y="35"/>
                    <a:pt x="0" y="27"/>
                  </a:cubicBezTo>
                  <a:cubicBezTo>
                    <a:pt x="0" y="19"/>
                    <a:pt x="4" y="12"/>
                    <a:pt x="11" y="7"/>
                  </a:cubicBezTo>
                  <a:cubicBezTo>
                    <a:pt x="16" y="3"/>
                    <a:pt x="24" y="0"/>
                    <a:pt x="33" y="0"/>
                  </a:cubicBezTo>
                  <a:cubicBezTo>
                    <a:pt x="45" y="0"/>
                    <a:pt x="55" y="5"/>
                    <a:pt x="62" y="14"/>
                  </a:cubicBezTo>
                  <a:lnTo>
                    <a:pt x="5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9" name="Freeform 21">
              <a:extLst>
                <a:ext uri="{FF2B5EF4-FFF2-40B4-BE49-F238E27FC236}">
                  <a16:creationId xmlns="" xmlns:a16="http://schemas.microsoft.com/office/drawing/2014/main" id="{E7386D16-DA8B-0342-B528-72DB0123597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3938" y="4545014"/>
              <a:ext cx="122238" cy="100013"/>
            </a:xfrm>
            <a:custGeom>
              <a:avLst/>
              <a:gdLst>
                <a:gd name="T0" fmla="*/ 47 w 56"/>
                <a:gd name="T1" fmla="*/ 40 h 46"/>
                <a:gd name="T2" fmla="*/ 28 w 56"/>
                <a:gd name="T3" fmla="*/ 46 h 46"/>
                <a:gd name="T4" fmla="*/ 9 w 56"/>
                <a:gd name="T5" fmla="*/ 40 h 46"/>
                <a:gd name="T6" fmla="*/ 0 w 56"/>
                <a:gd name="T7" fmla="*/ 23 h 46"/>
                <a:gd name="T8" fmla="*/ 9 w 56"/>
                <a:gd name="T9" fmla="*/ 6 h 46"/>
                <a:gd name="T10" fmla="*/ 28 w 56"/>
                <a:gd name="T11" fmla="*/ 0 h 46"/>
                <a:gd name="T12" fmla="*/ 47 w 56"/>
                <a:gd name="T13" fmla="*/ 6 h 46"/>
                <a:gd name="T14" fmla="*/ 56 w 56"/>
                <a:gd name="T15" fmla="*/ 23 h 46"/>
                <a:gd name="T16" fmla="*/ 47 w 56"/>
                <a:gd name="T17" fmla="*/ 40 h 46"/>
                <a:gd name="T18" fmla="*/ 28 w 56"/>
                <a:gd name="T19" fmla="*/ 8 h 46"/>
                <a:gd name="T20" fmla="*/ 8 w 56"/>
                <a:gd name="T21" fmla="*/ 23 h 46"/>
                <a:gd name="T22" fmla="*/ 28 w 56"/>
                <a:gd name="T23" fmla="*/ 38 h 46"/>
                <a:gd name="T24" fmla="*/ 48 w 56"/>
                <a:gd name="T25" fmla="*/ 23 h 46"/>
                <a:gd name="T26" fmla="*/ 28 w 56"/>
                <a:gd name="T2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46">
                  <a:moveTo>
                    <a:pt x="47" y="40"/>
                  </a:moveTo>
                  <a:cubicBezTo>
                    <a:pt x="42" y="44"/>
                    <a:pt x="36" y="46"/>
                    <a:pt x="28" y="46"/>
                  </a:cubicBezTo>
                  <a:cubicBezTo>
                    <a:pt x="20" y="46"/>
                    <a:pt x="14" y="44"/>
                    <a:pt x="9" y="40"/>
                  </a:cubicBezTo>
                  <a:cubicBezTo>
                    <a:pt x="3" y="36"/>
                    <a:pt x="0" y="30"/>
                    <a:pt x="0" y="23"/>
                  </a:cubicBezTo>
                  <a:cubicBezTo>
                    <a:pt x="0" y="16"/>
                    <a:pt x="3" y="10"/>
                    <a:pt x="9" y="6"/>
                  </a:cubicBezTo>
                  <a:cubicBezTo>
                    <a:pt x="14" y="2"/>
                    <a:pt x="21" y="0"/>
                    <a:pt x="28" y="0"/>
                  </a:cubicBezTo>
                  <a:cubicBezTo>
                    <a:pt x="35" y="0"/>
                    <a:pt x="42" y="2"/>
                    <a:pt x="47" y="6"/>
                  </a:cubicBezTo>
                  <a:cubicBezTo>
                    <a:pt x="53" y="10"/>
                    <a:pt x="56" y="16"/>
                    <a:pt x="56" y="23"/>
                  </a:cubicBezTo>
                  <a:cubicBezTo>
                    <a:pt x="56" y="30"/>
                    <a:pt x="53" y="36"/>
                    <a:pt x="47" y="40"/>
                  </a:cubicBezTo>
                  <a:close/>
                  <a:moveTo>
                    <a:pt x="28" y="8"/>
                  </a:moveTo>
                  <a:cubicBezTo>
                    <a:pt x="16" y="8"/>
                    <a:pt x="8" y="14"/>
                    <a:pt x="8" y="23"/>
                  </a:cubicBezTo>
                  <a:cubicBezTo>
                    <a:pt x="8" y="32"/>
                    <a:pt x="16" y="38"/>
                    <a:pt x="28" y="38"/>
                  </a:cubicBezTo>
                  <a:cubicBezTo>
                    <a:pt x="40" y="38"/>
                    <a:pt x="48" y="32"/>
                    <a:pt x="48" y="23"/>
                  </a:cubicBezTo>
                  <a:cubicBezTo>
                    <a:pt x="48" y="14"/>
                    <a:pt x="40" y="8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0" name="Freeform 22">
              <a:extLst>
                <a:ext uri="{FF2B5EF4-FFF2-40B4-BE49-F238E27FC236}">
                  <a16:creationId xmlns="" xmlns:a16="http://schemas.microsoft.com/office/drawing/2014/main" id="{84BA7AEE-48F5-3B44-8131-9CA59A62F6D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4549776"/>
              <a:ext cx="111125" cy="93663"/>
            </a:xfrm>
            <a:custGeom>
              <a:avLst/>
              <a:gdLst>
                <a:gd name="T0" fmla="*/ 52 w 70"/>
                <a:gd name="T1" fmla="*/ 59 h 59"/>
                <a:gd name="T2" fmla="*/ 12 w 70"/>
                <a:gd name="T3" fmla="*/ 9 h 59"/>
                <a:gd name="T4" fmla="*/ 12 w 70"/>
                <a:gd name="T5" fmla="*/ 59 h 59"/>
                <a:gd name="T6" fmla="*/ 0 w 70"/>
                <a:gd name="T7" fmla="*/ 59 h 59"/>
                <a:gd name="T8" fmla="*/ 0 w 70"/>
                <a:gd name="T9" fmla="*/ 0 h 59"/>
                <a:gd name="T10" fmla="*/ 18 w 70"/>
                <a:gd name="T11" fmla="*/ 0 h 59"/>
                <a:gd name="T12" fmla="*/ 58 w 70"/>
                <a:gd name="T13" fmla="*/ 48 h 59"/>
                <a:gd name="T14" fmla="*/ 58 w 70"/>
                <a:gd name="T15" fmla="*/ 0 h 59"/>
                <a:gd name="T16" fmla="*/ 70 w 70"/>
                <a:gd name="T17" fmla="*/ 0 h 59"/>
                <a:gd name="T18" fmla="*/ 70 w 70"/>
                <a:gd name="T19" fmla="*/ 59 h 59"/>
                <a:gd name="T20" fmla="*/ 52 w 70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59">
                  <a:moveTo>
                    <a:pt x="52" y="59"/>
                  </a:moveTo>
                  <a:lnTo>
                    <a:pt x="12" y="9"/>
                  </a:lnTo>
                  <a:lnTo>
                    <a:pt x="12" y="59"/>
                  </a:lnTo>
                  <a:lnTo>
                    <a:pt x="0" y="5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58" y="48"/>
                  </a:lnTo>
                  <a:lnTo>
                    <a:pt x="58" y="0"/>
                  </a:lnTo>
                  <a:lnTo>
                    <a:pt x="70" y="0"/>
                  </a:lnTo>
                  <a:lnTo>
                    <a:pt x="70" y="59"/>
                  </a:lnTo>
                  <a:lnTo>
                    <a:pt x="52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1" name="Freeform 23">
              <a:extLst>
                <a:ext uri="{FF2B5EF4-FFF2-40B4-BE49-F238E27FC236}">
                  <a16:creationId xmlns="" xmlns:a16="http://schemas.microsoft.com/office/drawing/2014/main" id="{B3FC67B4-D719-CB46-89A7-35BBAF6875D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513" y="4545014"/>
              <a:ext cx="112713" cy="100013"/>
            </a:xfrm>
            <a:custGeom>
              <a:avLst/>
              <a:gdLst>
                <a:gd name="T0" fmla="*/ 25 w 51"/>
                <a:gd name="T1" fmla="*/ 8 h 46"/>
                <a:gd name="T2" fmla="*/ 11 w 51"/>
                <a:gd name="T3" fmla="*/ 13 h 46"/>
                <a:gd name="T4" fmla="*/ 31 w 51"/>
                <a:gd name="T5" fmla="*/ 18 h 46"/>
                <a:gd name="T6" fmla="*/ 51 w 51"/>
                <a:gd name="T7" fmla="*/ 31 h 46"/>
                <a:gd name="T8" fmla="*/ 27 w 51"/>
                <a:gd name="T9" fmla="*/ 46 h 46"/>
                <a:gd name="T10" fmla="*/ 0 w 51"/>
                <a:gd name="T11" fmla="*/ 38 h 46"/>
                <a:gd name="T12" fmla="*/ 5 w 51"/>
                <a:gd name="T13" fmla="*/ 32 h 46"/>
                <a:gd name="T14" fmla="*/ 26 w 51"/>
                <a:gd name="T15" fmla="*/ 38 h 46"/>
                <a:gd name="T16" fmla="*/ 42 w 51"/>
                <a:gd name="T17" fmla="*/ 32 h 46"/>
                <a:gd name="T18" fmla="*/ 37 w 51"/>
                <a:gd name="T19" fmla="*/ 27 h 46"/>
                <a:gd name="T20" fmla="*/ 17 w 51"/>
                <a:gd name="T21" fmla="*/ 25 h 46"/>
                <a:gd name="T22" fmla="*/ 2 w 51"/>
                <a:gd name="T23" fmla="*/ 14 h 46"/>
                <a:gd name="T24" fmla="*/ 25 w 51"/>
                <a:gd name="T25" fmla="*/ 0 h 46"/>
                <a:gd name="T26" fmla="*/ 48 w 51"/>
                <a:gd name="T27" fmla="*/ 7 h 46"/>
                <a:gd name="T28" fmla="*/ 43 w 51"/>
                <a:gd name="T29" fmla="*/ 12 h 46"/>
                <a:gd name="T30" fmla="*/ 25 w 51"/>
                <a:gd name="T31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" h="46">
                  <a:moveTo>
                    <a:pt x="25" y="8"/>
                  </a:moveTo>
                  <a:cubicBezTo>
                    <a:pt x="15" y="8"/>
                    <a:pt x="11" y="10"/>
                    <a:pt x="11" y="13"/>
                  </a:cubicBezTo>
                  <a:cubicBezTo>
                    <a:pt x="11" y="18"/>
                    <a:pt x="18" y="17"/>
                    <a:pt x="31" y="18"/>
                  </a:cubicBezTo>
                  <a:cubicBezTo>
                    <a:pt x="44" y="19"/>
                    <a:pt x="51" y="23"/>
                    <a:pt x="51" y="31"/>
                  </a:cubicBezTo>
                  <a:cubicBezTo>
                    <a:pt x="51" y="40"/>
                    <a:pt x="42" y="46"/>
                    <a:pt x="27" y="46"/>
                  </a:cubicBezTo>
                  <a:cubicBezTo>
                    <a:pt x="15" y="46"/>
                    <a:pt x="7" y="43"/>
                    <a:pt x="0" y="3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0" y="36"/>
                    <a:pt x="18" y="38"/>
                    <a:pt x="26" y="38"/>
                  </a:cubicBezTo>
                  <a:cubicBezTo>
                    <a:pt x="36" y="38"/>
                    <a:pt x="42" y="36"/>
                    <a:pt x="42" y="32"/>
                  </a:cubicBezTo>
                  <a:cubicBezTo>
                    <a:pt x="42" y="29"/>
                    <a:pt x="40" y="28"/>
                    <a:pt x="37" y="27"/>
                  </a:cubicBezTo>
                  <a:cubicBezTo>
                    <a:pt x="32" y="25"/>
                    <a:pt x="25" y="26"/>
                    <a:pt x="17" y="25"/>
                  </a:cubicBezTo>
                  <a:cubicBezTo>
                    <a:pt x="7" y="24"/>
                    <a:pt x="2" y="21"/>
                    <a:pt x="2" y="14"/>
                  </a:cubicBezTo>
                  <a:cubicBezTo>
                    <a:pt x="2" y="6"/>
                    <a:pt x="10" y="0"/>
                    <a:pt x="25" y="0"/>
                  </a:cubicBezTo>
                  <a:cubicBezTo>
                    <a:pt x="34" y="0"/>
                    <a:pt x="42" y="3"/>
                    <a:pt x="48" y="7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37" y="9"/>
                    <a:pt x="32" y="8"/>
                    <a:pt x="2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2" name="Freeform 24">
              <a:extLst>
                <a:ext uri="{FF2B5EF4-FFF2-40B4-BE49-F238E27FC236}">
                  <a16:creationId xmlns="" xmlns:a16="http://schemas.microsoft.com/office/drawing/2014/main" id="{41A5C0B0-3293-344F-A0EC-80F27CAE8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863" y="4549776"/>
              <a:ext cx="111125" cy="95250"/>
            </a:xfrm>
            <a:custGeom>
              <a:avLst/>
              <a:gdLst>
                <a:gd name="T0" fmla="*/ 25 w 50"/>
                <a:gd name="T1" fmla="*/ 44 h 44"/>
                <a:gd name="T2" fmla="*/ 0 w 50"/>
                <a:gd name="T3" fmla="*/ 28 h 44"/>
                <a:gd name="T4" fmla="*/ 0 w 50"/>
                <a:gd name="T5" fmla="*/ 0 h 44"/>
                <a:gd name="T6" fmla="*/ 8 w 50"/>
                <a:gd name="T7" fmla="*/ 0 h 44"/>
                <a:gd name="T8" fmla="*/ 8 w 50"/>
                <a:gd name="T9" fmla="*/ 27 h 44"/>
                <a:gd name="T10" fmla="*/ 25 w 50"/>
                <a:gd name="T11" fmla="*/ 36 h 44"/>
                <a:gd name="T12" fmla="*/ 41 w 50"/>
                <a:gd name="T13" fmla="*/ 27 h 44"/>
                <a:gd name="T14" fmla="*/ 41 w 50"/>
                <a:gd name="T15" fmla="*/ 0 h 44"/>
                <a:gd name="T16" fmla="*/ 50 w 50"/>
                <a:gd name="T17" fmla="*/ 0 h 44"/>
                <a:gd name="T18" fmla="*/ 50 w 50"/>
                <a:gd name="T19" fmla="*/ 28 h 44"/>
                <a:gd name="T20" fmla="*/ 25 w 50"/>
                <a:gd name="T2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4">
                  <a:moveTo>
                    <a:pt x="25" y="44"/>
                  </a:moveTo>
                  <a:cubicBezTo>
                    <a:pt x="9" y="44"/>
                    <a:pt x="0" y="37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3"/>
                    <a:pt x="14" y="36"/>
                    <a:pt x="25" y="36"/>
                  </a:cubicBezTo>
                  <a:cubicBezTo>
                    <a:pt x="36" y="36"/>
                    <a:pt x="41" y="33"/>
                    <a:pt x="41" y="27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37"/>
                    <a:pt x="40" y="44"/>
                    <a:pt x="25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3" name="Freeform 25">
              <a:extLst>
                <a:ext uri="{FF2B5EF4-FFF2-40B4-BE49-F238E27FC236}">
                  <a16:creationId xmlns="" xmlns:a16="http://schemas.microsoft.com/office/drawing/2014/main" id="{D9A0A2DB-1CE7-0E46-A70B-F482BFE3890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1150" y="4549776"/>
              <a:ext cx="88900" cy="93663"/>
            </a:xfrm>
            <a:custGeom>
              <a:avLst/>
              <a:gdLst>
                <a:gd name="T0" fmla="*/ 0 w 56"/>
                <a:gd name="T1" fmla="*/ 59 h 59"/>
                <a:gd name="T2" fmla="*/ 0 w 56"/>
                <a:gd name="T3" fmla="*/ 0 h 59"/>
                <a:gd name="T4" fmla="*/ 11 w 56"/>
                <a:gd name="T5" fmla="*/ 0 h 59"/>
                <a:gd name="T6" fmla="*/ 11 w 56"/>
                <a:gd name="T7" fmla="*/ 48 h 59"/>
                <a:gd name="T8" fmla="*/ 56 w 56"/>
                <a:gd name="T9" fmla="*/ 48 h 59"/>
                <a:gd name="T10" fmla="*/ 56 w 56"/>
                <a:gd name="T11" fmla="*/ 59 h 59"/>
                <a:gd name="T12" fmla="*/ 0 w 56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9">
                  <a:moveTo>
                    <a:pt x="0" y="59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8"/>
                  </a:lnTo>
                  <a:lnTo>
                    <a:pt x="56" y="48"/>
                  </a:lnTo>
                  <a:lnTo>
                    <a:pt x="56" y="59"/>
                  </a:lnTo>
                  <a:lnTo>
                    <a:pt x="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4" name="Freeform 26">
              <a:extLst>
                <a:ext uri="{FF2B5EF4-FFF2-40B4-BE49-F238E27FC236}">
                  <a16:creationId xmlns="" xmlns:a16="http://schemas.microsoft.com/office/drawing/2014/main" id="{76E26748-BE1F-0A4E-825B-7AF479E6F07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000" y="4549776"/>
              <a:ext cx="109538" cy="93663"/>
            </a:xfrm>
            <a:custGeom>
              <a:avLst/>
              <a:gdLst>
                <a:gd name="T0" fmla="*/ 40 w 69"/>
                <a:gd name="T1" fmla="*/ 9 h 59"/>
                <a:gd name="T2" fmla="*/ 40 w 69"/>
                <a:gd name="T3" fmla="*/ 59 h 59"/>
                <a:gd name="T4" fmla="*/ 29 w 69"/>
                <a:gd name="T5" fmla="*/ 59 h 59"/>
                <a:gd name="T6" fmla="*/ 29 w 69"/>
                <a:gd name="T7" fmla="*/ 9 h 59"/>
                <a:gd name="T8" fmla="*/ 0 w 69"/>
                <a:gd name="T9" fmla="*/ 9 h 59"/>
                <a:gd name="T10" fmla="*/ 0 w 69"/>
                <a:gd name="T11" fmla="*/ 0 h 59"/>
                <a:gd name="T12" fmla="*/ 69 w 69"/>
                <a:gd name="T13" fmla="*/ 0 h 59"/>
                <a:gd name="T14" fmla="*/ 69 w 69"/>
                <a:gd name="T15" fmla="*/ 9 h 59"/>
                <a:gd name="T16" fmla="*/ 40 w 69"/>
                <a:gd name="T17" fmla="*/ 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59">
                  <a:moveTo>
                    <a:pt x="40" y="9"/>
                  </a:moveTo>
                  <a:lnTo>
                    <a:pt x="40" y="59"/>
                  </a:lnTo>
                  <a:lnTo>
                    <a:pt x="29" y="59"/>
                  </a:lnTo>
                  <a:lnTo>
                    <a:pt x="29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9"/>
                  </a:lnTo>
                  <a:lnTo>
                    <a:pt x="4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5" name="Rectangle 27">
              <a:extLst>
                <a:ext uri="{FF2B5EF4-FFF2-40B4-BE49-F238E27FC236}">
                  <a16:creationId xmlns="" xmlns:a16="http://schemas.microsoft.com/office/drawing/2014/main" id="{C38CAE67-4F1B-3048-9004-9163328319B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8000" y="4549776"/>
              <a:ext cx="20638" cy="936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6" name="Freeform 28">
              <a:extLst>
                <a:ext uri="{FF2B5EF4-FFF2-40B4-BE49-F238E27FC236}">
                  <a16:creationId xmlns="" xmlns:a16="http://schemas.microsoft.com/office/drawing/2014/main" id="{40C7CDA4-D9D9-5742-B061-F92E1BE24B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0" y="4549776"/>
              <a:ext cx="109538" cy="93663"/>
            </a:xfrm>
            <a:custGeom>
              <a:avLst/>
              <a:gdLst>
                <a:gd name="T0" fmla="*/ 52 w 69"/>
                <a:gd name="T1" fmla="*/ 59 h 59"/>
                <a:gd name="T2" fmla="*/ 12 w 69"/>
                <a:gd name="T3" fmla="*/ 9 h 59"/>
                <a:gd name="T4" fmla="*/ 12 w 69"/>
                <a:gd name="T5" fmla="*/ 59 h 59"/>
                <a:gd name="T6" fmla="*/ 0 w 69"/>
                <a:gd name="T7" fmla="*/ 59 h 59"/>
                <a:gd name="T8" fmla="*/ 0 w 69"/>
                <a:gd name="T9" fmla="*/ 0 h 59"/>
                <a:gd name="T10" fmla="*/ 18 w 69"/>
                <a:gd name="T11" fmla="*/ 0 h 59"/>
                <a:gd name="T12" fmla="*/ 58 w 69"/>
                <a:gd name="T13" fmla="*/ 48 h 59"/>
                <a:gd name="T14" fmla="*/ 58 w 69"/>
                <a:gd name="T15" fmla="*/ 0 h 59"/>
                <a:gd name="T16" fmla="*/ 69 w 69"/>
                <a:gd name="T17" fmla="*/ 0 h 59"/>
                <a:gd name="T18" fmla="*/ 69 w 69"/>
                <a:gd name="T19" fmla="*/ 59 h 59"/>
                <a:gd name="T20" fmla="*/ 52 w 69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59">
                  <a:moveTo>
                    <a:pt x="52" y="59"/>
                  </a:moveTo>
                  <a:lnTo>
                    <a:pt x="12" y="9"/>
                  </a:lnTo>
                  <a:lnTo>
                    <a:pt x="12" y="59"/>
                  </a:lnTo>
                  <a:lnTo>
                    <a:pt x="0" y="5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58" y="48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59"/>
                  </a:lnTo>
                  <a:lnTo>
                    <a:pt x="52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7" name="Freeform 29">
              <a:extLst>
                <a:ext uri="{FF2B5EF4-FFF2-40B4-BE49-F238E27FC236}">
                  <a16:creationId xmlns="" xmlns:a16="http://schemas.microsoft.com/office/drawing/2014/main" id="{E5A33FA6-9436-A841-BCAA-C1A733095126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5325" y="4545014"/>
              <a:ext cx="123825" cy="100013"/>
            </a:xfrm>
            <a:custGeom>
              <a:avLst/>
              <a:gdLst>
                <a:gd name="T0" fmla="*/ 57 w 57"/>
                <a:gd name="T1" fmla="*/ 22 h 46"/>
                <a:gd name="T2" fmla="*/ 29 w 57"/>
                <a:gd name="T3" fmla="*/ 46 h 46"/>
                <a:gd name="T4" fmla="*/ 9 w 57"/>
                <a:gd name="T5" fmla="*/ 40 h 46"/>
                <a:gd name="T6" fmla="*/ 0 w 57"/>
                <a:gd name="T7" fmla="*/ 23 h 46"/>
                <a:gd name="T8" fmla="*/ 9 w 57"/>
                <a:gd name="T9" fmla="*/ 6 h 46"/>
                <a:gd name="T10" fmla="*/ 29 w 57"/>
                <a:gd name="T11" fmla="*/ 0 h 46"/>
                <a:gd name="T12" fmla="*/ 53 w 57"/>
                <a:gd name="T13" fmla="*/ 10 h 46"/>
                <a:gd name="T14" fmla="*/ 45 w 57"/>
                <a:gd name="T15" fmla="*/ 14 h 46"/>
                <a:gd name="T16" fmla="*/ 29 w 57"/>
                <a:gd name="T17" fmla="*/ 8 h 46"/>
                <a:gd name="T18" fmla="*/ 9 w 57"/>
                <a:gd name="T19" fmla="*/ 23 h 46"/>
                <a:gd name="T20" fmla="*/ 29 w 57"/>
                <a:gd name="T21" fmla="*/ 38 h 46"/>
                <a:gd name="T22" fmla="*/ 46 w 57"/>
                <a:gd name="T23" fmla="*/ 29 h 46"/>
                <a:gd name="T24" fmla="*/ 27 w 57"/>
                <a:gd name="T25" fmla="*/ 29 h 46"/>
                <a:gd name="T26" fmla="*/ 27 w 57"/>
                <a:gd name="T27" fmla="*/ 21 h 46"/>
                <a:gd name="T28" fmla="*/ 57 w 57"/>
                <a:gd name="T29" fmla="*/ 21 h 46"/>
                <a:gd name="T30" fmla="*/ 57 w 57"/>
                <a:gd name="T31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7" h="46">
                  <a:moveTo>
                    <a:pt x="57" y="22"/>
                  </a:moveTo>
                  <a:cubicBezTo>
                    <a:pt x="57" y="36"/>
                    <a:pt x="46" y="46"/>
                    <a:pt x="29" y="46"/>
                  </a:cubicBezTo>
                  <a:cubicBezTo>
                    <a:pt x="21" y="46"/>
                    <a:pt x="14" y="44"/>
                    <a:pt x="9" y="40"/>
                  </a:cubicBezTo>
                  <a:cubicBezTo>
                    <a:pt x="3" y="36"/>
                    <a:pt x="0" y="30"/>
                    <a:pt x="0" y="23"/>
                  </a:cubicBezTo>
                  <a:cubicBezTo>
                    <a:pt x="0" y="16"/>
                    <a:pt x="3" y="10"/>
                    <a:pt x="9" y="6"/>
                  </a:cubicBezTo>
                  <a:cubicBezTo>
                    <a:pt x="14" y="2"/>
                    <a:pt x="21" y="0"/>
                    <a:pt x="29" y="0"/>
                  </a:cubicBezTo>
                  <a:cubicBezTo>
                    <a:pt x="39" y="0"/>
                    <a:pt x="46" y="3"/>
                    <a:pt x="53" y="10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0" y="10"/>
                    <a:pt x="35" y="8"/>
                    <a:pt x="29" y="8"/>
                  </a:cubicBezTo>
                  <a:cubicBezTo>
                    <a:pt x="17" y="8"/>
                    <a:pt x="9" y="14"/>
                    <a:pt x="9" y="23"/>
                  </a:cubicBezTo>
                  <a:cubicBezTo>
                    <a:pt x="9" y="32"/>
                    <a:pt x="17" y="38"/>
                    <a:pt x="29" y="38"/>
                  </a:cubicBezTo>
                  <a:cubicBezTo>
                    <a:pt x="37" y="38"/>
                    <a:pt x="43" y="35"/>
                    <a:pt x="46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57" y="21"/>
                    <a:pt x="57" y="21"/>
                    <a:pt x="57" y="21"/>
                  </a:cubicBezTo>
                  <a:lnTo>
                    <a:pt x="5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8" name="Freeform 30">
              <a:extLst>
                <a:ext uri="{FF2B5EF4-FFF2-40B4-BE49-F238E27FC236}">
                  <a16:creationId xmlns="" xmlns:a16="http://schemas.microsoft.com/office/drawing/2014/main" id="{9A7FA89F-4962-9E46-A859-A2FA3C35709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38" y="3911601"/>
              <a:ext cx="574675" cy="514350"/>
            </a:xfrm>
            <a:custGeom>
              <a:avLst/>
              <a:gdLst>
                <a:gd name="T0" fmla="*/ 262 w 262"/>
                <a:gd name="T1" fmla="*/ 72 h 234"/>
                <a:gd name="T2" fmla="*/ 177 w 262"/>
                <a:gd name="T3" fmla="*/ 142 h 234"/>
                <a:gd name="T4" fmla="*/ 53 w 262"/>
                <a:gd name="T5" fmla="*/ 142 h 234"/>
                <a:gd name="T6" fmla="*/ 53 w 262"/>
                <a:gd name="T7" fmla="*/ 234 h 234"/>
                <a:gd name="T8" fmla="*/ 0 w 262"/>
                <a:gd name="T9" fmla="*/ 234 h 234"/>
                <a:gd name="T10" fmla="*/ 0 w 262"/>
                <a:gd name="T11" fmla="*/ 0 h 234"/>
                <a:gd name="T12" fmla="*/ 180 w 262"/>
                <a:gd name="T13" fmla="*/ 0 h 234"/>
                <a:gd name="T14" fmla="*/ 262 w 262"/>
                <a:gd name="T15" fmla="*/ 72 h 234"/>
                <a:gd name="T16" fmla="*/ 210 w 262"/>
                <a:gd name="T17" fmla="*/ 72 h 234"/>
                <a:gd name="T18" fmla="*/ 174 w 262"/>
                <a:gd name="T19" fmla="*/ 43 h 234"/>
                <a:gd name="T20" fmla="*/ 53 w 262"/>
                <a:gd name="T21" fmla="*/ 43 h 234"/>
                <a:gd name="T22" fmla="*/ 53 w 262"/>
                <a:gd name="T23" fmla="*/ 100 h 234"/>
                <a:gd name="T24" fmla="*/ 174 w 262"/>
                <a:gd name="T25" fmla="*/ 100 h 234"/>
                <a:gd name="T26" fmla="*/ 210 w 262"/>
                <a:gd name="T27" fmla="*/ 7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2" h="234">
                  <a:moveTo>
                    <a:pt x="262" y="72"/>
                  </a:moveTo>
                  <a:cubicBezTo>
                    <a:pt x="262" y="118"/>
                    <a:pt x="233" y="142"/>
                    <a:pt x="177" y="142"/>
                  </a:cubicBezTo>
                  <a:cubicBezTo>
                    <a:pt x="53" y="142"/>
                    <a:pt x="53" y="142"/>
                    <a:pt x="53" y="142"/>
                  </a:cubicBezTo>
                  <a:cubicBezTo>
                    <a:pt x="53" y="234"/>
                    <a:pt x="53" y="234"/>
                    <a:pt x="53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230" y="0"/>
                    <a:pt x="262" y="30"/>
                    <a:pt x="262" y="72"/>
                  </a:cubicBezTo>
                  <a:close/>
                  <a:moveTo>
                    <a:pt x="210" y="72"/>
                  </a:moveTo>
                  <a:cubicBezTo>
                    <a:pt x="210" y="53"/>
                    <a:pt x="197" y="43"/>
                    <a:pt x="174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196" y="100"/>
                    <a:pt x="210" y="89"/>
                    <a:pt x="210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9" name="Freeform 31">
              <a:extLst>
                <a:ext uri="{FF2B5EF4-FFF2-40B4-BE49-F238E27FC236}">
                  <a16:creationId xmlns="" xmlns:a16="http://schemas.microsoft.com/office/drawing/2014/main" id="{51362795-E148-1C4C-8867-CE6B4F044710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438" y="3911601"/>
              <a:ext cx="696913" cy="514350"/>
            </a:xfrm>
            <a:custGeom>
              <a:avLst/>
              <a:gdLst>
                <a:gd name="T0" fmla="*/ 364 w 439"/>
                <a:gd name="T1" fmla="*/ 324 h 324"/>
                <a:gd name="T2" fmla="*/ 364 w 439"/>
                <a:gd name="T3" fmla="*/ 89 h 324"/>
                <a:gd name="T4" fmla="*/ 363 w 439"/>
                <a:gd name="T5" fmla="*/ 89 h 324"/>
                <a:gd name="T6" fmla="*/ 219 w 439"/>
                <a:gd name="T7" fmla="*/ 263 h 324"/>
                <a:gd name="T8" fmla="*/ 74 w 439"/>
                <a:gd name="T9" fmla="*/ 89 h 324"/>
                <a:gd name="T10" fmla="*/ 73 w 439"/>
                <a:gd name="T11" fmla="*/ 89 h 324"/>
                <a:gd name="T12" fmla="*/ 73 w 439"/>
                <a:gd name="T13" fmla="*/ 324 h 324"/>
                <a:gd name="T14" fmla="*/ 0 w 439"/>
                <a:gd name="T15" fmla="*/ 324 h 324"/>
                <a:gd name="T16" fmla="*/ 0 w 439"/>
                <a:gd name="T17" fmla="*/ 0 h 324"/>
                <a:gd name="T18" fmla="*/ 85 w 439"/>
                <a:gd name="T19" fmla="*/ 0 h 324"/>
                <a:gd name="T20" fmla="*/ 219 w 439"/>
                <a:gd name="T21" fmla="*/ 162 h 324"/>
                <a:gd name="T22" fmla="*/ 352 w 439"/>
                <a:gd name="T23" fmla="*/ 0 h 324"/>
                <a:gd name="T24" fmla="*/ 439 w 439"/>
                <a:gd name="T25" fmla="*/ 0 h 324"/>
                <a:gd name="T26" fmla="*/ 439 w 439"/>
                <a:gd name="T27" fmla="*/ 324 h 324"/>
                <a:gd name="T28" fmla="*/ 364 w 439"/>
                <a:gd name="T29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324">
                  <a:moveTo>
                    <a:pt x="364" y="324"/>
                  </a:moveTo>
                  <a:lnTo>
                    <a:pt x="364" y="89"/>
                  </a:lnTo>
                  <a:lnTo>
                    <a:pt x="363" y="89"/>
                  </a:lnTo>
                  <a:lnTo>
                    <a:pt x="219" y="263"/>
                  </a:lnTo>
                  <a:lnTo>
                    <a:pt x="74" y="89"/>
                  </a:lnTo>
                  <a:lnTo>
                    <a:pt x="73" y="89"/>
                  </a:lnTo>
                  <a:lnTo>
                    <a:pt x="73" y="324"/>
                  </a:lnTo>
                  <a:lnTo>
                    <a:pt x="0" y="324"/>
                  </a:lnTo>
                  <a:lnTo>
                    <a:pt x="0" y="0"/>
                  </a:lnTo>
                  <a:lnTo>
                    <a:pt x="85" y="0"/>
                  </a:lnTo>
                  <a:lnTo>
                    <a:pt x="219" y="162"/>
                  </a:lnTo>
                  <a:lnTo>
                    <a:pt x="352" y="0"/>
                  </a:lnTo>
                  <a:lnTo>
                    <a:pt x="439" y="0"/>
                  </a:lnTo>
                  <a:lnTo>
                    <a:pt x="439" y="324"/>
                  </a:lnTo>
                  <a:lnTo>
                    <a:pt x="364" y="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0" name="Freeform 32">
              <a:extLst>
                <a:ext uri="{FF2B5EF4-FFF2-40B4-BE49-F238E27FC236}">
                  <a16:creationId xmlns="" xmlns:a16="http://schemas.microsoft.com/office/drawing/2014/main" id="{F1440C75-B936-B345-B3DE-E5F1418FC4C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3911601"/>
              <a:ext cx="576263" cy="514350"/>
            </a:xfrm>
            <a:custGeom>
              <a:avLst/>
              <a:gdLst>
                <a:gd name="T0" fmla="*/ 263 w 263"/>
                <a:gd name="T1" fmla="*/ 72 h 234"/>
                <a:gd name="T2" fmla="*/ 178 w 263"/>
                <a:gd name="T3" fmla="*/ 142 h 234"/>
                <a:gd name="T4" fmla="*/ 53 w 263"/>
                <a:gd name="T5" fmla="*/ 142 h 234"/>
                <a:gd name="T6" fmla="*/ 53 w 263"/>
                <a:gd name="T7" fmla="*/ 234 h 234"/>
                <a:gd name="T8" fmla="*/ 0 w 263"/>
                <a:gd name="T9" fmla="*/ 234 h 234"/>
                <a:gd name="T10" fmla="*/ 0 w 263"/>
                <a:gd name="T11" fmla="*/ 0 h 234"/>
                <a:gd name="T12" fmla="*/ 180 w 263"/>
                <a:gd name="T13" fmla="*/ 0 h 234"/>
                <a:gd name="T14" fmla="*/ 263 w 263"/>
                <a:gd name="T15" fmla="*/ 72 h 234"/>
                <a:gd name="T16" fmla="*/ 210 w 263"/>
                <a:gd name="T17" fmla="*/ 72 h 234"/>
                <a:gd name="T18" fmla="*/ 174 w 263"/>
                <a:gd name="T19" fmla="*/ 43 h 234"/>
                <a:gd name="T20" fmla="*/ 53 w 263"/>
                <a:gd name="T21" fmla="*/ 43 h 234"/>
                <a:gd name="T22" fmla="*/ 53 w 263"/>
                <a:gd name="T23" fmla="*/ 100 h 234"/>
                <a:gd name="T24" fmla="*/ 174 w 263"/>
                <a:gd name="T25" fmla="*/ 100 h 234"/>
                <a:gd name="T26" fmla="*/ 210 w 263"/>
                <a:gd name="T27" fmla="*/ 7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3" h="234">
                  <a:moveTo>
                    <a:pt x="263" y="72"/>
                  </a:moveTo>
                  <a:cubicBezTo>
                    <a:pt x="263" y="118"/>
                    <a:pt x="234" y="142"/>
                    <a:pt x="178" y="142"/>
                  </a:cubicBezTo>
                  <a:cubicBezTo>
                    <a:pt x="53" y="142"/>
                    <a:pt x="53" y="142"/>
                    <a:pt x="53" y="142"/>
                  </a:cubicBezTo>
                  <a:cubicBezTo>
                    <a:pt x="53" y="234"/>
                    <a:pt x="53" y="234"/>
                    <a:pt x="53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230" y="0"/>
                    <a:pt x="263" y="30"/>
                    <a:pt x="263" y="72"/>
                  </a:cubicBezTo>
                  <a:close/>
                  <a:moveTo>
                    <a:pt x="210" y="72"/>
                  </a:moveTo>
                  <a:cubicBezTo>
                    <a:pt x="210" y="53"/>
                    <a:pt x="197" y="43"/>
                    <a:pt x="174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197" y="100"/>
                    <a:pt x="210" y="89"/>
                    <a:pt x="210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</p:grpSp>
      <p:sp>
        <p:nvSpPr>
          <p:cNvPr id="31" name="ZoneTexte 30">
            <a:extLst>
              <a:ext uri="{FF2B5EF4-FFF2-40B4-BE49-F238E27FC236}">
                <a16:creationId xmlns="" xmlns:a16="http://schemas.microsoft.com/office/drawing/2014/main" id="{3A7A52F5-9033-ED47-9B93-FA2F999A5BA4}"/>
              </a:ext>
            </a:extLst>
          </p:cNvPr>
          <p:cNvSpPr txBox="1"/>
          <p:nvPr/>
        </p:nvSpPr>
        <p:spPr>
          <a:xfrm rot="16200000">
            <a:off x="2410738" y="3460772"/>
            <a:ext cx="2900943" cy="43713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>
            <a:noAutofit/>
          </a:bodyPr>
          <a:lstStyle/>
          <a:p>
            <a:r>
              <a:rPr lang="fr-FR" sz="2400" spc="800" dirty="0">
                <a:solidFill>
                  <a:srgbClr val="59108D"/>
                </a:solidFill>
              </a:rPr>
              <a:t>CONTACT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="" xmlns:a16="http://schemas.microsoft.com/office/drawing/2014/main" id="{CE98D08D-12DB-2B46-B83C-CDD34F196703}"/>
              </a:ext>
            </a:extLst>
          </p:cNvPr>
          <p:cNvCxnSpPr>
            <a:cxnSpLocks/>
          </p:cNvCxnSpPr>
          <p:nvPr/>
        </p:nvCxnSpPr>
        <p:spPr>
          <a:xfrm>
            <a:off x="4175787" y="1"/>
            <a:ext cx="0" cy="5060951"/>
          </a:xfrm>
          <a:prstGeom prst="lin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ZoneTexte 35">
            <a:extLst>
              <a:ext uri="{FF2B5EF4-FFF2-40B4-BE49-F238E27FC236}">
                <a16:creationId xmlns="" xmlns:a16="http://schemas.microsoft.com/office/drawing/2014/main" id="{68BB9F04-FDEC-414D-A04D-0B427EC9E58F}"/>
              </a:ext>
            </a:extLst>
          </p:cNvPr>
          <p:cNvSpPr txBox="1"/>
          <p:nvPr/>
        </p:nvSpPr>
        <p:spPr>
          <a:xfrm>
            <a:off x="1257636" y="4275806"/>
            <a:ext cx="2174281" cy="87119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>
            <a:noAutofit/>
          </a:bodyPr>
          <a:lstStyle/>
          <a:p>
            <a:pPr>
              <a:spcBef>
                <a:spcPts val="267"/>
              </a:spcBef>
            </a:pPr>
            <a:r>
              <a:rPr lang="fr-FR" sz="1067" dirty="0">
                <a:solidFill>
                  <a:srgbClr val="59108D"/>
                </a:solidFill>
              </a:rPr>
              <a:t>32 boulevard Haussmann</a:t>
            </a:r>
          </a:p>
          <a:p>
            <a:pPr>
              <a:spcBef>
                <a:spcPts val="267"/>
              </a:spcBef>
            </a:pPr>
            <a:r>
              <a:rPr lang="fr-FR" sz="1067" dirty="0">
                <a:solidFill>
                  <a:srgbClr val="59108D"/>
                </a:solidFill>
              </a:rPr>
              <a:t>75009 Paris</a:t>
            </a:r>
          </a:p>
          <a:p>
            <a:pPr>
              <a:spcBef>
                <a:spcPts val="267"/>
              </a:spcBef>
            </a:pPr>
            <a:r>
              <a:rPr lang="fr-FR" sz="1067" dirty="0">
                <a:solidFill>
                  <a:srgbClr val="59108D"/>
                </a:solidFill>
              </a:rPr>
              <a:t>+33 (0) 1 55 04 77 00</a:t>
            </a:r>
          </a:p>
          <a:p>
            <a:pPr>
              <a:spcBef>
                <a:spcPts val="267"/>
              </a:spcBef>
            </a:pPr>
            <a:r>
              <a:rPr lang="fr-FR" sz="1067" dirty="0">
                <a:solidFill>
                  <a:srgbClr val="59108D"/>
                </a:solidFill>
              </a:rPr>
              <a:t>pmp@pmpconseil.com</a:t>
            </a:r>
          </a:p>
        </p:txBody>
      </p:sp>
      <p:sp>
        <p:nvSpPr>
          <p:cNvPr id="39" name="ZoneTexte 38">
            <a:extLst>
              <a:ext uri="{FF2B5EF4-FFF2-40B4-BE49-F238E27FC236}">
                <a16:creationId xmlns="" xmlns:a16="http://schemas.microsoft.com/office/drawing/2014/main" id="{2ABDCF92-ED12-5D4D-A3C0-9CAABD5717F1}"/>
              </a:ext>
            </a:extLst>
          </p:cNvPr>
          <p:cNvSpPr txBox="1"/>
          <p:nvPr/>
        </p:nvSpPr>
        <p:spPr>
          <a:xfrm>
            <a:off x="5360020" y="1419921"/>
            <a:ext cx="0" cy="0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48000" rIns="48000" bIns="48000" rtlCol="0">
            <a:noAutofit/>
          </a:bodyPr>
          <a:lstStyle/>
          <a:p>
            <a:pPr>
              <a:spcBef>
                <a:spcPts val="800"/>
              </a:spcBef>
            </a:pPr>
            <a:endParaRPr lang="fr-FR" sz="2133" dirty="0">
              <a:solidFill>
                <a:srgbClr val="323748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="" xmlns:a16="http://schemas.microsoft.com/office/drawing/2014/main" id="{7A71FD10-B01C-4355-AE0D-16752FF8469E}"/>
              </a:ext>
            </a:extLst>
          </p:cNvPr>
          <p:cNvSpPr/>
          <p:nvPr/>
        </p:nvSpPr>
        <p:spPr>
          <a:xfrm>
            <a:off x="814918" y="6453336"/>
            <a:ext cx="8209407" cy="404664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fr-FR" sz="2133" dirty="0">
              <a:solidFill>
                <a:srgbClr val="323748"/>
              </a:solidFill>
            </a:endParaRPr>
          </a:p>
        </p:txBody>
      </p:sp>
      <p:sp>
        <p:nvSpPr>
          <p:cNvPr id="4" name="Espace réservé du texte 3">
            <a:extLst>
              <a:ext uri="{FF2B5EF4-FFF2-40B4-BE49-F238E27FC236}">
                <a16:creationId xmlns="" xmlns:a16="http://schemas.microsoft.com/office/drawing/2014/main" id="{6E71B97E-83CA-4941-A004-5268E840836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15813" y="2756926"/>
            <a:ext cx="3335867" cy="2281361"/>
          </a:xfrm>
        </p:spPr>
        <p:txBody>
          <a:bodyPr anchor="b"/>
          <a:lstStyle>
            <a:lvl1pPr marL="0">
              <a:spcBef>
                <a:spcPts val="400"/>
              </a:spcBef>
              <a:buFontTx/>
              <a:buNone/>
              <a:defRPr sz="1333">
                <a:solidFill>
                  <a:schemeClr val="accent3"/>
                </a:solidFill>
              </a:defRPr>
            </a:lvl1pPr>
            <a:lvl2pPr marL="0">
              <a:spcBef>
                <a:spcPts val="400"/>
              </a:spcBef>
              <a:buFontTx/>
              <a:buNone/>
              <a:defRPr sz="1333">
                <a:solidFill>
                  <a:schemeClr val="accent2"/>
                </a:solidFill>
              </a:defRPr>
            </a:lvl2pPr>
            <a:lvl3pPr marL="0" indent="0">
              <a:spcBef>
                <a:spcPts val="400"/>
              </a:spcBef>
              <a:buFontTx/>
              <a:buNone/>
              <a:defRPr sz="1333" b="0"/>
            </a:lvl3pPr>
            <a:lvl4pPr marL="0" indent="0">
              <a:spcBef>
                <a:spcPts val="400"/>
              </a:spcBef>
              <a:buFontTx/>
              <a:buNone/>
              <a:defRPr sz="1333"/>
            </a:lvl4pPr>
            <a:lvl5pPr marL="0" indent="0">
              <a:spcBef>
                <a:spcPts val="400"/>
              </a:spcBef>
              <a:buFontTx/>
              <a:buNone/>
              <a:defRPr sz="1067">
                <a:latin typeface="+mn-lt"/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</p:spTree>
    <p:extLst>
      <p:ext uri="{BB962C8B-B14F-4D97-AF65-F5344CB8AC3E}">
        <p14:creationId xmlns:p14="http://schemas.microsoft.com/office/powerpoint/2010/main" val="382799758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391">
          <p15:clr>
            <a:srgbClr val="FBAE40"/>
          </p15:clr>
        </p15:guide>
        <p15:guide id="2" pos="612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Rectangle 48">
            <a:extLst>
              <a:ext uri="{FF2B5EF4-FFF2-40B4-BE49-F238E27FC236}">
                <a16:creationId xmlns="" xmlns:a16="http://schemas.microsoft.com/office/drawing/2014/main" id="{558D4FD7-DCB8-0945-9777-C5B7895A7CB9}"/>
              </a:ext>
            </a:extLst>
          </p:cNvPr>
          <p:cNvSpPr/>
          <p:nvPr/>
        </p:nvSpPr>
        <p:spPr>
          <a:xfrm>
            <a:off x="7628467" y="0"/>
            <a:ext cx="4563533" cy="68580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fr-FR" sz="2133" dirty="0">
              <a:solidFill>
                <a:srgbClr val="323748"/>
              </a:solidFill>
            </a:endParaRPr>
          </a:p>
        </p:txBody>
      </p:sp>
      <p:pic>
        <p:nvPicPr>
          <p:cNvPr id="8" name="Image 7">
            <a:extLst>
              <a:ext uri="{FF2B5EF4-FFF2-40B4-BE49-F238E27FC236}">
                <a16:creationId xmlns="" xmlns:a16="http://schemas.microsoft.com/office/drawing/2014/main" id="{376B46E2-75C6-C545-91CA-94F89088EDB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557" y="4354614"/>
            <a:ext cx="647444" cy="647444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="" xmlns:a16="http://schemas.microsoft.com/office/drawing/2014/main" id="{C8810F36-1D3F-8748-8229-A28C4547782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7261" y="4322910"/>
            <a:ext cx="679148" cy="67914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="" xmlns:a16="http://schemas.microsoft.com/office/drawing/2014/main" id="{B1D3E2DA-D24E-CA4A-B8AE-08FD9ABDC48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7261" y="2449461"/>
            <a:ext cx="679148" cy="67914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="" xmlns:a16="http://schemas.microsoft.com/office/drawing/2014/main" id="{2F604488-67EC-B74B-99F4-4CD128E1E0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7261" y="481069"/>
            <a:ext cx="681140" cy="679148"/>
          </a:xfrm>
          <a:prstGeom prst="rect">
            <a:avLst/>
          </a:prstGeom>
        </p:spPr>
      </p:pic>
      <p:pic>
        <p:nvPicPr>
          <p:cNvPr id="12" name="Image 11">
            <a:extLst>
              <a:ext uri="{FF2B5EF4-FFF2-40B4-BE49-F238E27FC236}">
                <a16:creationId xmlns="" xmlns:a16="http://schemas.microsoft.com/office/drawing/2014/main" id="{053EA5AB-AFBB-C841-B161-3B8B6038F12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62" y="534417"/>
            <a:ext cx="711292" cy="711292"/>
          </a:xfrm>
          <a:prstGeom prst="rect">
            <a:avLst/>
          </a:prstGeom>
        </p:spPr>
      </p:pic>
      <p:sp>
        <p:nvSpPr>
          <p:cNvPr id="13" name="Espace réservé du texte 21">
            <a:extLst>
              <a:ext uri="{FF2B5EF4-FFF2-40B4-BE49-F238E27FC236}">
                <a16:creationId xmlns="" xmlns:a16="http://schemas.microsoft.com/office/drawing/2014/main" id="{FE68027D-59E3-6D49-AA5A-18CC161BF7EB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0" y="2834195"/>
            <a:ext cx="3533423" cy="1388829"/>
          </a:xfrm>
          <a:custGeom>
            <a:avLst/>
            <a:gdLst>
              <a:gd name="connsiteX0" fmla="*/ 0 w 1836075"/>
              <a:gd name="connsiteY0" fmla="*/ 0 h 1752600"/>
              <a:gd name="connsiteX1" fmla="*/ 918038 w 1836075"/>
              <a:gd name="connsiteY1" fmla="*/ 0 h 1752600"/>
              <a:gd name="connsiteX2" fmla="*/ 1836076 w 1836075"/>
              <a:gd name="connsiteY2" fmla="*/ 876300 h 1752600"/>
              <a:gd name="connsiteX3" fmla="*/ 918038 w 1836075"/>
              <a:gd name="connsiteY3" fmla="*/ 1752600 h 1752600"/>
              <a:gd name="connsiteX4" fmla="*/ 0 w 1836075"/>
              <a:gd name="connsiteY4" fmla="*/ 1752600 h 1752600"/>
              <a:gd name="connsiteX5" fmla="*/ 0 w 1836075"/>
              <a:gd name="connsiteY5" fmla="*/ 0 h 1752600"/>
              <a:gd name="connsiteX0" fmla="*/ 0 w 3115601"/>
              <a:gd name="connsiteY0" fmla="*/ 3175 h 1752600"/>
              <a:gd name="connsiteX1" fmla="*/ 2197563 w 3115601"/>
              <a:gd name="connsiteY1" fmla="*/ 0 h 1752600"/>
              <a:gd name="connsiteX2" fmla="*/ 3115601 w 3115601"/>
              <a:gd name="connsiteY2" fmla="*/ 876300 h 1752600"/>
              <a:gd name="connsiteX3" fmla="*/ 2197563 w 3115601"/>
              <a:gd name="connsiteY3" fmla="*/ 1752600 h 1752600"/>
              <a:gd name="connsiteX4" fmla="*/ 1279525 w 3115601"/>
              <a:gd name="connsiteY4" fmla="*/ 1752600 h 1752600"/>
              <a:gd name="connsiteX5" fmla="*/ 0 w 3115601"/>
              <a:gd name="connsiteY5" fmla="*/ 3175 h 1752600"/>
              <a:gd name="connsiteX0" fmla="*/ 662631 w 3778232"/>
              <a:gd name="connsiteY0" fmla="*/ 3175 h 1767714"/>
              <a:gd name="connsiteX1" fmla="*/ 2860194 w 3778232"/>
              <a:gd name="connsiteY1" fmla="*/ 0 h 1767714"/>
              <a:gd name="connsiteX2" fmla="*/ 3778232 w 3778232"/>
              <a:gd name="connsiteY2" fmla="*/ 876300 h 1767714"/>
              <a:gd name="connsiteX3" fmla="*/ 2860194 w 3778232"/>
              <a:gd name="connsiteY3" fmla="*/ 1752600 h 1767714"/>
              <a:gd name="connsiteX4" fmla="*/ 0 w 3778232"/>
              <a:gd name="connsiteY4" fmla="*/ 1767714 h 1767714"/>
              <a:gd name="connsiteX5" fmla="*/ 662631 w 3778232"/>
              <a:gd name="connsiteY5" fmla="*/ 3175 h 1767714"/>
              <a:gd name="connsiteX0" fmla="*/ 0 w 3784398"/>
              <a:gd name="connsiteY0" fmla="*/ 3175 h 1767714"/>
              <a:gd name="connsiteX1" fmla="*/ 2866360 w 3784398"/>
              <a:gd name="connsiteY1" fmla="*/ 0 h 1767714"/>
              <a:gd name="connsiteX2" fmla="*/ 3784398 w 3784398"/>
              <a:gd name="connsiteY2" fmla="*/ 876300 h 1767714"/>
              <a:gd name="connsiteX3" fmla="*/ 2866360 w 3784398"/>
              <a:gd name="connsiteY3" fmla="*/ 1752600 h 1767714"/>
              <a:gd name="connsiteX4" fmla="*/ 6166 w 3784398"/>
              <a:gd name="connsiteY4" fmla="*/ 1767714 h 1767714"/>
              <a:gd name="connsiteX5" fmla="*/ 0 w 378439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800106 w 4578338"/>
              <a:gd name="connsiteY4" fmla="*/ 1767714 h 1767714"/>
              <a:gd name="connsiteX5" fmla="*/ 0 w 457833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6166 w 4578338"/>
              <a:gd name="connsiteY4" fmla="*/ 1767714 h 1767714"/>
              <a:gd name="connsiteX5" fmla="*/ 0 w 4578338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01499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167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54184"/>
              <a:gd name="connsiteX1" fmla="*/ 4255633 w 5173671"/>
              <a:gd name="connsiteY1" fmla="*/ 0 h 1754184"/>
              <a:gd name="connsiteX2" fmla="*/ 5173671 w 5173671"/>
              <a:gd name="connsiteY2" fmla="*/ 876300 h 1754184"/>
              <a:gd name="connsiteX3" fmla="*/ 4255633 w 5173671"/>
              <a:gd name="connsiteY3" fmla="*/ 1752600 h 1754184"/>
              <a:gd name="connsiteX4" fmla="*/ 39993 w 5173671"/>
              <a:gd name="connsiteY4" fmla="*/ 1754184 h 1754184"/>
              <a:gd name="connsiteX5" fmla="*/ 0 w 5173671"/>
              <a:gd name="connsiteY5" fmla="*/ 3175 h 1754184"/>
              <a:gd name="connsiteX0" fmla="*/ 0 w 5157228"/>
              <a:gd name="connsiteY0" fmla="*/ 3175 h 1754184"/>
              <a:gd name="connsiteX1" fmla="*/ 4239190 w 5157228"/>
              <a:gd name="connsiteY1" fmla="*/ 0 h 1754184"/>
              <a:gd name="connsiteX2" fmla="*/ 5157228 w 5157228"/>
              <a:gd name="connsiteY2" fmla="*/ 876300 h 1754184"/>
              <a:gd name="connsiteX3" fmla="*/ 4239190 w 5157228"/>
              <a:gd name="connsiteY3" fmla="*/ 1752600 h 1754184"/>
              <a:gd name="connsiteX4" fmla="*/ 23550 w 5157228"/>
              <a:gd name="connsiteY4" fmla="*/ 1754184 h 1754184"/>
              <a:gd name="connsiteX5" fmla="*/ 0 w 5157228"/>
              <a:gd name="connsiteY5" fmla="*/ 3175 h 1754184"/>
              <a:gd name="connsiteX0" fmla="*/ 5523 w 5162751"/>
              <a:gd name="connsiteY0" fmla="*/ 3175 h 1752601"/>
              <a:gd name="connsiteX1" fmla="*/ 4244713 w 5162751"/>
              <a:gd name="connsiteY1" fmla="*/ 0 h 1752601"/>
              <a:gd name="connsiteX2" fmla="*/ 5162751 w 5162751"/>
              <a:gd name="connsiteY2" fmla="*/ 876300 h 1752601"/>
              <a:gd name="connsiteX3" fmla="*/ 4244713 w 5162751"/>
              <a:gd name="connsiteY3" fmla="*/ 1752600 h 1752601"/>
              <a:gd name="connsiteX4" fmla="*/ 297 w 5162751"/>
              <a:gd name="connsiteY4" fmla="*/ 1745962 h 1752601"/>
              <a:gd name="connsiteX5" fmla="*/ 5523 w 5162751"/>
              <a:gd name="connsiteY5" fmla="*/ 3175 h 1752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2751" h="1752601">
                <a:moveTo>
                  <a:pt x="5523" y="3175"/>
                </a:moveTo>
                <a:lnTo>
                  <a:pt x="4244713" y="0"/>
                </a:lnTo>
                <a:cubicBezTo>
                  <a:pt x="4751731" y="0"/>
                  <a:pt x="5162751" y="392333"/>
                  <a:pt x="5162751" y="876300"/>
                </a:cubicBezTo>
                <a:cubicBezTo>
                  <a:pt x="5162751" y="1360267"/>
                  <a:pt x="4751731" y="1752600"/>
                  <a:pt x="4244713" y="1752600"/>
                </a:cubicBezTo>
                <a:lnTo>
                  <a:pt x="297" y="1745962"/>
                </a:lnTo>
                <a:cubicBezTo>
                  <a:pt x="-1758" y="1157782"/>
                  <a:pt x="7578" y="591355"/>
                  <a:pt x="5523" y="3175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88000" tIns="144000" anchor="t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14" name="Espace réservé du texte 16">
            <a:extLst>
              <a:ext uri="{FF2B5EF4-FFF2-40B4-BE49-F238E27FC236}">
                <a16:creationId xmlns="" xmlns:a16="http://schemas.microsoft.com/office/drawing/2014/main" id="{CE1210DF-767A-F547-864A-6CEB4F7999F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33" y="3589043"/>
            <a:ext cx="2678812" cy="485552"/>
          </a:xfrm>
        </p:spPr>
        <p:txBody>
          <a:bodyPr anchor="ctr"/>
          <a:lstStyle>
            <a:lvl1pPr>
              <a:spcBef>
                <a:spcPts val="0"/>
              </a:spcBef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="" xmlns:a16="http://schemas.microsoft.com/office/drawing/2014/main" id="{9E7AAF71-5F8A-994D-A59B-7478E9456C67}"/>
              </a:ext>
            </a:extLst>
          </p:cNvPr>
          <p:cNvSpPr txBox="1"/>
          <p:nvPr/>
        </p:nvSpPr>
        <p:spPr>
          <a:xfrm>
            <a:off x="8109727" y="1160216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ctr">
            <a:noAutofit/>
          </a:bodyPr>
          <a:lstStyle/>
          <a:p>
            <a:r>
              <a:rPr lang="fr-FR" sz="1467" b="1" dirty="0">
                <a:solidFill>
                  <a:srgbClr val="EE783C"/>
                </a:solidFill>
              </a:rPr>
              <a:t>Expertises applicabl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="" xmlns:a16="http://schemas.microsoft.com/office/drawing/2014/main" id="{59A93747-FB07-6A4A-88BA-7488F0BCFD69}"/>
              </a:ext>
            </a:extLst>
          </p:cNvPr>
          <p:cNvSpPr txBox="1"/>
          <p:nvPr/>
        </p:nvSpPr>
        <p:spPr>
          <a:xfrm>
            <a:off x="4037261" y="1160216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ctr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Domaines d’expertis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="" xmlns:a16="http://schemas.microsoft.com/office/drawing/2014/main" id="{B984BEB6-4E8B-C843-9115-C6DB8601DE32}"/>
              </a:ext>
            </a:extLst>
          </p:cNvPr>
          <p:cNvSpPr txBox="1"/>
          <p:nvPr/>
        </p:nvSpPr>
        <p:spPr>
          <a:xfrm>
            <a:off x="4037261" y="3141416"/>
            <a:ext cx="3267356" cy="36378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wrap="square" lIns="48000" tIns="48000" rIns="48000" bIns="48000" rtlCol="0" anchor="ctr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Expérience professionnelle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="" xmlns:a16="http://schemas.microsoft.com/office/drawing/2014/main" id="{096ECCC0-DD83-A543-9100-89C028C20A19}"/>
              </a:ext>
            </a:extLst>
          </p:cNvPr>
          <p:cNvSpPr txBox="1"/>
          <p:nvPr/>
        </p:nvSpPr>
        <p:spPr>
          <a:xfrm>
            <a:off x="4037261" y="5002057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Exemples de clients-entreprises</a:t>
            </a:r>
          </a:p>
        </p:txBody>
      </p:sp>
      <p:sp>
        <p:nvSpPr>
          <p:cNvPr id="19" name="ZoneTexte 18">
            <a:extLst>
              <a:ext uri="{FF2B5EF4-FFF2-40B4-BE49-F238E27FC236}">
                <a16:creationId xmlns="" xmlns:a16="http://schemas.microsoft.com/office/drawing/2014/main" id="{269F2011-7B19-C940-96EC-00659C81C334}"/>
              </a:ext>
            </a:extLst>
          </p:cNvPr>
          <p:cNvSpPr txBox="1"/>
          <p:nvPr/>
        </p:nvSpPr>
        <p:spPr>
          <a:xfrm>
            <a:off x="1073927" y="5002057"/>
            <a:ext cx="2033340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Formation</a:t>
            </a:r>
          </a:p>
        </p:txBody>
      </p:sp>
      <p:sp>
        <p:nvSpPr>
          <p:cNvPr id="20" name="Espace réservé du texte 34">
            <a:extLst>
              <a:ext uri="{FF2B5EF4-FFF2-40B4-BE49-F238E27FC236}">
                <a16:creationId xmlns="" xmlns:a16="http://schemas.microsoft.com/office/drawing/2014/main" id="{942920C5-F911-E346-B1FD-5B2897F102A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130557" y="5378178"/>
            <a:ext cx="2661171" cy="624791"/>
          </a:xfrm>
        </p:spPr>
        <p:txBody>
          <a:bodyPr/>
          <a:lstStyle>
            <a:lvl1pPr marL="228594" indent="-228594">
              <a:spcBef>
                <a:spcPts val="267"/>
              </a:spcBef>
              <a:buClr>
                <a:schemeClr val="accent2"/>
              </a:buClr>
              <a:buSzPct val="160000"/>
              <a:buFont typeface="Arial" panose="020B0604020202020204" pitchFamily="34" charset="0"/>
              <a:buChar char="•"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Espace réservé du texte 34">
            <a:extLst>
              <a:ext uri="{FF2B5EF4-FFF2-40B4-BE49-F238E27FC236}">
                <a16:creationId xmlns="" xmlns:a16="http://schemas.microsoft.com/office/drawing/2014/main" id="{7CADD9F1-AA27-5942-8A4C-0A39BBA4855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37261" y="1573017"/>
            <a:ext cx="3007783" cy="624791"/>
          </a:xfrm>
        </p:spPr>
        <p:txBody>
          <a:bodyPr/>
          <a:lstStyle>
            <a:lvl1pPr marL="228594" indent="-228594">
              <a:spcBef>
                <a:spcPts val="267"/>
              </a:spcBef>
              <a:buClr>
                <a:schemeClr val="accent2"/>
              </a:buClr>
              <a:buSzPct val="160000"/>
              <a:buFont typeface="Arial" panose="020B0604020202020204" pitchFamily="34" charset="0"/>
              <a:buChar char="•"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2" name="Espace réservé du texte 34">
            <a:extLst>
              <a:ext uri="{FF2B5EF4-FFF2-40B4-BE49-F238E27FC236}">
                <a16:creationId xmlns="" xmlns:a16="http://schemas.microsoft.com/office/drawing/2014/main" id="{FC98C088-2FED-0547-988A-E9E4409D81ED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2884" y="1573016"/>
            <a:ext cx="3294200" cy="4448901"/>
          </a:xfrm>
        </p:spPr>
        <p:txBody>
          <a:bodyPr/>
          <a:lstStyle>
            <a:lvl1pPr marL="228594" indent="-228594">
              <a:spcBef>
                <a:spcPts val="267"/>
              </a:spcBef>
              <a:buClr>
                <a:schemeClr val="accent3"/>
              </a:buClr>
              <a:buSzPct val="160000"/>
              <a:buFont typeface="Arial" panose="020B0604020202020204" pitchFamily="34" charset="0"/>
              <a:buChar char="•"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3" name="Espace réservé du texte 34">
            <a:extLst>
              <a:ext uri="{FF2B5EF4-FFF2-40B4-BE49-F238E27FC236}">
                <a16:creationId xmlns="" xmlns:a16="http://schemas.microsoft.com/office/drawing/2014/main" id="{6F8BDC57-4AA4-4045-8BC8-24A394901E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37261" y="3537283"/>
            <a:ext cx="3007783" cy="624791"/>
          </a:xfrm>
        </p:spPr>
        <p:txBody>
          <a:bodyPr/>
          <a:lstStyle>
            <a:lvl1pPr marL="228594" indent="-228594">
              <a:spcBef>
                <a:spcPts val="267"/>
              </a:spcBef>
              <a:buClr>
                <a:schemeClr val="accent2"/>
              </a:buClr>
              <a:buSzPct val="160000"/>
              <a:buFont typeface="Arial" panose="020B0604020202020204" pitchFamily="34" charset="0"/>
              <a:buChar char="•"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4" name="Espace réservé du texte 34">
            <a:extLst>
              <a:ext uri="{FF2B5EF4-FFF2-40B4-BE49-F238E27FC236}">
                <a16:creationId xmlns="" xmlns:a16="http://schemas.microsoft.com/office/drawing/2014/main" id="{23E91D41-AE37-6D49-BA46-AC43EFEF0D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037261" y="5378178"/>
            <a:ext cx="3007783" cy="624791"/>
          </a:xfrm>
        </p:spPr>
        <p:txBody>
          <a:bodyPr/>
          <a:lstStyle>
            <a:lvl1pPr marL="0" indent="0">
              <a:spcBef>
                <a:spcPts val="267"/>
              </a:spcBef>
              <a:buClr>
                <a:schemeClr val="accent2"/>
              </a:buClr>
              <a:buSzPct val="160000"/>
              <a:buFont typeface="Arial" panose="020B0604020202020204" pitchFamily="34" charset="0"/>
              <a:buNone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8" name="Espace réservé pour une image  14">
            <a:extLst>
              <a:ext uri="{FF2B5EF4-FFF2-40B4-BE49-F238E27FC236}">
                <a16:creationId xmlns="" xmlns:a16="http://schemas.microsoft.com/office/drawing/2014/main" id="{60D14F1E-5C81-8845-84B5-36CC5D7B60B5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5487" y="367327"/>
            <a:ext cx="2614424" cy="2612237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fr-FR" sz="1333" b="0"/>
            </a:lvl1pPr>
          </a:lstStyle>
          <a:p>
            <a:pPr lvl="0" algn="ctr">
              <a:spcBef>
                <a:spcPts val="0"/>
              </a:spcBef>
            </a:pPr>
            <a:r>
              <a:rPr lang="fr-FR" dirty="0"/>
              <a:t>Cliquez sur l'icône pour ajouter une image</a:t>
            </a:r>
          </a:p>
        </p:txBody>
      </p:sp>
      <p:grpSp>
        <p:nvGrpSpPr>
          <p:cNvPr id="33" name="Groupe 13">
            <a:extLst>
              <a:ext uri="{FF2B5EF4-FFF2-40B4-BE49-F238E27FC236}">
                <a16:creationId xmlns="" xmlns:a16="http://schemas.microsoft.com/office/drawing/2014/main" id="{DE09B937-F86D-7E4A-8B3F-293E21C09525}"/>
              </a:ext>
            </a:extLst>
          </p:cNvPr>
          <p:cNvGrpSpPr/>
          <p:nvPr/>
        </p:nvGrpSpPr>
        <p:grpSpPr>
          <a:xfrm>
            <a:off x="11485569" y="6208431"/>
            <a:ext cx="408776" cy="405060"/>
            <a:chOff x="4763" y="1558926"/>
            <a:chExt cx="2095500" cy="2076450"/>
          </a:xfrm>
          <a:solidFill>
            <a:schemeClr val="accent2"/>
          </a:solidFill>
        </p:grpSpPr>
        <p:sp>
          <p:nvSpPr>
            <p:cNvPr id="34" name="Freeform 11">
              <a:extLst>
                <a:ext uri="{FF2B5EF4-FFF2-40B4-BE49-F238E27FC236}">
                  <a16:creationId xmlns="" xmlns:a16="http://schemas.microsoft.com/office/drawing/2014/main" id="{1BD319B6-B6A8-E84F-B449-126BB010F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1808164"/>
              <a:ext cx="663575" cy="841375"/>
            </a:xfrm>
            <a:custGeom>
              <a:avLst/>
              <a:gdLst>
                <a:gd name="T0" fmla="*/ 302 w 302"/>
                <a:gd name="T1" fmla="*/ 151 h 383"/>
                <a:gd name="T2" fmla="*/ 151 w 302"/>
                <a:gd name="T3" fmla="*/ 0 h 383"/>
                <a:gd name="T4" fmla="*/ 0 w 302"/>
                <a:gd name="T5" fmla="*/ 151 h 383"/>
                <a:gd name="T6" fmla="*/ 0 w 302"/>
                <a:gd name="T7" fmla="*/ 232 h 383"/>
                <a:gd name="T8" fmla="*/ 151 w 302"/>
                <a:gd name="T9" fmla="*/ 383 h 383"/>
                <a:gd name="T10" fmla="*/ 302 w 302"/>
                <a:gd name="T11" fmla="*/ 232 h 383"/>
                <a:gd name="T12" fmla="*/ 302 w 302"/>
                <a:gd name="T13" fmla="*/ 1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383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218"/>
                    <a:pt x="0" y="232"/>
                  </a:cubicBezTo>
                  <a:cubicBezTo>
                    <a:pt x="0" y="315"/>
                    <a:pt x="67" y="383"/>
                    <a:pt x="151" y="383"/>
                  </a:cubicBezTo>
                  <a:cubicBezTo>
                    <a:pt x="234" y="383"/>
                    <a:pt x="302" y="315"/>
                    <a:pt x="302" y="232"/>
                  </a:cubicBezTo>
                  <a:cubicBezTo>
                    <a:pt x="302" y="218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5" name="Freeform 12">
              <a:extLst>
                <a:ext uri="{FF2B5EF4-FFF2-40B4-BE49-F238E27FC236}">
                  <a16:creationId xmlns="" xmlns:a16="http://schemas.microsoft.com/office/drawing/2014/main" id="{2BED74D2-1BC3-AB4A-9703-B60958516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6" name="Freeform 13">
              <a:extLst>
                <a:ext uri="{FF2B5EF4-FFF2-40B4-BE49-F238E27FC236}">
                  <a16:creationId xmlns="" xmlns:a16="http://schemas.microsoft.com/office/drawing/2014/main" id="{0952E9AE-1611-1A43-B141-B75FB7F17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75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</p:grpSp>
      <p:sp>
        <p:nvSpPr>
          <p:cNvPr id="37" name="ZoneTexte 36"/>
          <p:cNvSpPr txBox="1"/>
          <p:nvPr/>
        </p:nvSpPr>
        <p:spPr>
          <a:xfrm>
            <a:off x="10261600" y="6443350"/>
            <a:ext cx="1195757" cy="205807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48000" rIns="48000" bIns="48000" rtlCol="0">
            <a:noAutofit/>
          </a:bodyPr>
          <a:lstStyle/>
          <a:p>
            <a:pPr>
              <a:spcBef>
                <a:spcPts val="800"/>
              </a:spcBef>
            </a:pPr>
            <a:r>
              <a:rPr lang="fr-FR" sz="933" dirty="0">
                <a:solidFill>
                  <a:srgbClr val="323748"/>
                </a:solidFill>
              </a:rPr>
              <a:t>Confidentiel © PMP</a:t>
            </a:r>
          </a:p>
        </p:txBody>
      </p:sp>
      <p:sp>
        <p:nvSpPr>
          <p:cNvPr id="28" name="Délai  3">
            <a:extLst>
              <a:ext uri="{FF2B5EF4-FFF2-40B4-BE49-F238E27FC236}">
                <a16:creationId xmlns="" xmlns:a16="http://schemas.microsoft.com/office/drawing/2014/main" id="{FCB70B29-291D-42B2-AAD5-1AAC85F715E4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5352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V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="" xmlns:a16="http://schemas.microsoft.com/office/drawing/2014/main" id="{66595C30-5909-C645-A757-D75BE97FC2F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0557" y="4354614"/>
            <a:ext cx="647444" cy="647444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="" xmlns:a16="http://schemas.microsoft.com/office/drawing/2014/main" id="{04BD2D3F-A963-3448-860E-716DCB21461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7261" y="4322910"/>
            <a:ext cx="679148" cy="679148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="" xmlns:a16="http://schemas.microsoft.com/office/drawing/2014/main" id="{2E547337-A4FA-2946-A80B-F551729E255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7261" y="2449461"/>
            <a:ext cx="679148" cy="67914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="" xmlns:a16="http://schemas.microsoft.com/office/drawing/2014/main" id="{234319E1-438F-0D48-9E92-904885A3CA7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37261" y="481069"/>
            <a:ext cx="681140" cy="679148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="" xmlns:a16="http://schemas.microsoft.com/office/drawing/2014/main" id="{D88963BF-5AE6-C941-823B-B0940E4774F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9662" y="534417"/>
            <a:ext cx="711292" cy="711292"/>
          </a:xfrm>
          <a:prstGeom prst="rect">
            <a:avLst/>
          </a:prstGeom>
        </p:spPr>
      </p:pic>
      <p:sp>
        <p:nvSpPr>
          <p:cNvPr id="12" name="Espace réservé du texte 21">
            <a:extLst>
              <a:ext uri="{FF2B5EF4-FFF2-40B4-BE49-F238E27FC236}">
                <a16:creationId xmlns="" xmlns:a16="http://schemas.microsoft.com/office/drawing/2014/main" id="{23E16636-054D-984F-81C9-BF838D0B151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0" y="2834195"/>
            <a:ext cx="3533423" cy="1388829"/>
          </a:xfrm>
          <a:custGeom>
            <a:avLst/>
            <a:gdLst>
              <a:gd name="connsiteX0" fmla="*/ 0 w 1836075"/>
              <a:gd name="connsiteY0" fmla="*/ 0 h 1752600"/>
              <a:gd name="connsiteX1" fmla="*/ 918038 w 1836075"/>
              <a:gd name="connsiteY1" fmla="*/ 0 h 1752600"/>
              <a:gd name="connsiteX2" fmla="*/ 1836076 w 1836075"/>
              <a:gd name="connsiteY2" fmla="*/ 876300 h 1752600"/>
              <a:gd name="connsiteX3" fmla="*/ 918038 w 1836075"/>
              <a:gd name="connsiteY3" fmla="*/ 1752600 h 1752600"/>
              <a:gd name="connsiteX4" fmla="*/ 0 w 1836075"/>
              <a:gd name="connsiteY4" fmla="*/ 1752600 h 1752600"/>
              <a:gd name="connsiteX5" fmla="*/ 0 w 1836075"/>
              <a:gd name="connsiteY5" fmla="*/ 0 h 1752600"/>
              <a:gd name="connsiteX0" fmla="*/ 0 w 3115601"/>
              <a:gd name="connsiteY0" fmla="*/ 3175 h 1752600"/>
              <a:gd name="connsiteX1" fmla="*/ 2197563 w 3115601"/>
              <a:gd name="connsiteY1" fmla="*/ 0 h 1752600"/>
              <a:gd name="connsiteX2" fmla="*/ 3115601 w 3115601"/>
              <a:gd name="connsiteY2" fmla="*/ 876300 h 1752600"/>
              <a:gd name="connsiteX3" fmla="*/ 2197563 w 3115601"/>
              <a:gd name="connsiteY3" fmla="*/ 1752600 h 1752600"/>
              <a:gd name="connsiteX4" fmla="*/ 1279525 w 3115601"/>
              <a:gd name="connsiteY4" fmla="*/ 1752600 h 1752600"/>
              <a:gd name="connsiteX5" fmla="*/ 0 w 3115601"/>
              <a:gd name="connsiteY5" fmla="*/ 3175 h 1752600"/>
              <a:gd name="connsiteX0" fmla="*/ 662631 w 3778232"/>
              <a:gd name="connsiteY0" fmla="*/ 3175 h 1767714"/>
              <a:gd name="connsiteX1" fmla="*/ 2860194 w 3778232"/>
              <a:gd name="connsiteY1" fmla="*/ 0 h 1767714"/>
              <a:gd name="connsiteX2" fmla="*/ 3778232 w 3778232"/>
              <a:gd name="connsiteY2" fmla="*/ 876300 h 1767714"/>
              <a:gd name="connsiteX3" fmla="*/ 2860194 w 3778232"/>
              <a:gd name="connsiteY3" fmla="*/ 1752600 h 1767714"/>
              <a:gd name="connsiteX4" fmla="*/ 0 w 3778232"/>
              <a:gd name="connsiteY4" fmla="*/ 1767714 h 1767714"/>
              <a:gd name="connsiteX5" fmla="*/ 662631 w 3778232"/>
              <a:gd name="connsiteY5" fmla="*/ 3175 h 1767714"/>
              <a:gd name="connsiteX0" fmla="*/ 0 w 3784398"/>
              <a:gd name="connsiteY0" fmla="*/ 3175 h 1767714"/>
              <a:gd name="connsiteX1" fmla="*/ 2866360 w 3784398"/>
              <a:gd name="connsiteY1" fmla="*/ 0 h 1767714"/>
              <a:gd name="connsiteX2" fmla="*/ 3784398 w 3784398"/>
              <a:gd name="connsiteY2" fmla="*/ 876300 h 1767714"/>
              <a:gd name="connsiteX3" fmla="*/ 2866360 w 3784398"/>
              <a:gd name="connsiteY3" fmla="*/ 1752600 h 1767714"/>
              <a:gd name="connsiteX4" fmla="*/ 6166 w 3784398"/>
              <a:gd name="connsiteY4" fmla="*/ 1767714 h 1767714"/>
              <a:gd name="connsiteX5" fmla="*/ 0 w 378439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800106 w 4578338"/>
              <a:gd name="connsiteY4" fmla="*/ 1767714 h 1767714"/>
              <a:gd name="connsiteX5" fmla="*/ 0 w 457833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6166 w 4578338"/>
              <a:gd name="connsiteY4" fmla="*/ 1767714 h 1767714"/>
              <a:gd name="connsiteX5" fmla="*/ 0 w 4578338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01499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167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54184"/>
              <a:gd name="connsiteX1" fmla="*/ 4255633 w 5173671"/>
              <a:gd name="connsiteY1" fmla="*/ 0 h 1754184"/>
              <a:gd name="connsiteX2" fmla="*/ 5173671 w 5173671"/>
              <a:gd name="connsiteY2" fmla="*/ 876300 h 1754184"/>
              <a:gd name="connsiteX3" fmla="*/ 4255633 w 5173671"/>
              <a:gd name="connsiteY3" fmla="*/ 1752600 h 1754184"/>
              <a:gd name="connsiteX4" fmla="*/ 39993 w 5173671"/>
              <a:gd name="connsiteY4" fmla="*/ 1754184 h 1754184"/>
              <a:gd name="connsiteX5" fmla="*/ 0 w 5173671"/>
              <a:gd name="connsiteY5" fmla="*/ 3175 h 1754184"/>
              <a:gd name="connsiteX0" fmla="*/ 0 w 5157228"/>
              <a:gd name="connsiteY0" fmla="*/ 3175 h 1754184"/>
              <a:gd name="connsiteX1" fmla="*/ 4239190 w 5157228"/>
              <a:gd name="connsiteY1" fmla="*/ 0 h 1754184"/>
              <a:gd name="connsiteX2" fmla="*/ 5157228 w 5157228"/>
              <a:gd name="connsiteY2" fmla="*/ 876300 h 1754184"/>
              <a:gd name="connsiteX3" fmla="*/ 4239190 w 5157228"/>
              <a:gd name="connsiteY3" fmla="*/ 1752600 h 1754184"/>
              <a:gd name="connsiteX4" fmla="*/ 23550 w 5157228"/>
              <a:gd name="connsiteY4" fmla="*/ 1754184 h 1754184"/>
              <a:gd name="connsiteX5" fmla="*/ 0 w 5157228"/>
              <a:gd name="connsiteY5" fmla="*/ 3175 h 1754184"/>
              <a:gd name="connsiteX0" fmla="*/ 5523 w 5162751"/>
              <a:gd name="connsiteY0" fmla="*/ 3175 h 1752601"/>
              <a:gd name="connsiteX1" fmla="*/ 4244713 w 5162751"/>
              <a:gd name="connsiteY1" fmla="*/ 0 h 1752601"/>
              <a:gd name="connsiteX2" fmla="*/ 5162751 w 5162751"/>
              <a:gd name="connsiteY2" fmla="*/ 876300 h 1752601"/>
              <a:gd name="connsiteX3" fmla="*/ 4244713 w 5162751"/>
              <a:gd name="connsiteY3" fmla="*/ 1752600 h 1752601"/>
              <a:gd name="connsiteX4" fmla="*/ 297 w 5162751"/>
              <a:gd name="connsiteY4" fmla="*/ 1745962 h 1752601"/>
              <a:gd name="connsiteX5" fmla="*/ 5523 w 5162751"/>
              <a:gd name="connsiteY5" fmla="*/ 3175 h 17526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162751" h="1752601">
                <a:moveTo>
                  <a:pt x="5523" y="3175"/>
                </a:moveTo>
                <a:lnTo>
                  <a:pt x="4244713" y="0"/>
                </a:lnTo>
                <a:cubicBezTo>
                  <a:pt x="4751731" y="0"/>
                  <a:pt x="5162751" y="392333"/>
                  <a:pt x="5162751" y="876300"/>
                </a:cubicBezTo>
                <a:cubicBezTo>
                  <a:pt x="5162751" y="1360267"/>
                  <a:pt x="4751731" y="1752600"/>
                  <a:pt x="4244713" y="1752600"/>
                </a:cubicBezTo>
                <a:lnTo>
                  <a:pt x="297" y="1745962"/>
                </a:lnTo>
                <a:cubicBezTo>
                  <a:pt x="-1758" y="1157782"/>
                  <a:pt x="7578" y="591355"/>
                  <a:pt x="5523" y="3175"/>
                </a:cubicBezTo>
                <a:close/>
              </a:path>
            </a:pathLst>
          </a:custGeom>
          <a:solidFill>
            <a:schemeClr val="accent2"/>
          </a:solidFill>
        </p:spPr>
        <p:txBody>
          <a:bodyPr lIns="288000" tIns="144000" anchor="t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4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Prénom Nom</a:t>
            </a:r>
          </a:p>
        </p:txBody>
      </p:sp>
      <p:sp>
        <p:nvSpPr>
          <p:cNvPr id="13" name="Espace réservé du texte 16">
            <a:extLst>
              <a:ext uri="{FF2B5EF4-FFF2-40B4-BE49-F238E27FC236}">
                <a16:creationId xmlns="" xmlns:a16="http://schemas.microsoft.com/office/drawing/2014/main" id="{FDFDED08-7031-6544-9DBF-338486423D9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25633" y="3589043"/>
            <a:ext cx="2678812" cy="485552"/>
          </a:xfrm>
        </p:spPr>
        <p:txBody>
          <a:bodyPr anchor="ctr"/>
          <a:lstStyle>
            <a:lvl1pPr>
              <a:spcBef>
                <a:spcPts val="0"/>
              </a:spcBef>
              <a:defRPr sz="24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="" xmlns:a16="http://schemas.microsoft.com/office/drawing/2014/main" id="{4118837F-0E31-9148-A091-73736AC030FB}"/>
              </a:ext>
            </a:extLst>
          </p:cNvPr>
          <p:cNvSpPr txBox="1"/>
          <p:nvPr/>
        </p:nvSpPr>
        <p:spPr>
          <a:xfrm>
            <a:off x="8109727" y="1160216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ctr">
            <a:noAutofit/>
          </a:bodyPr>
          <a:lstStyle/>
          <a:p>
            <a:r>
              <a:rPr lang="fr-FR" sz="1467" b="1" dirty="0">
                <a:solidFill>
                  <a:srgbClr val="EE783C"/>
                </a:solidFill>
              </a:rPr>
              <a:t>Expertises applicables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="" xmlns:a16="http://schemas.microsoft.com/office/drawing/2014/main" id="{3827D757-E943-A048-8C2E-57E2142F8E0E}"/>
              </a:ext>
            </a:extLst>
          </p:cNvPr>
          <p:cNvSpPr txBox="1"/>
          <p:nvPr/>
        </p:nvSpPr>
        <p:spPr>
          <a:xfrm>
            <a:off x="4037261" y="3141416"/>
            <a:ext cx="3267356" cy="363784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txBody>
          <a:bodyPr vert="horz" wrap="square" lIns="48000" tIns="48000" rIns="48000" bIns="48000" rtlCol="0" anchor="ctr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Expérience professionnell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="" xmlns:a16="http://schemas.microsoft.com/office/drawing/2014/main" id="{883A9E0C-0515-4E40-BD89-A8997F8F472B}"/>
              </a:ext>
            </a:extLst>
          </p:cNvPr>
          <p:cNvSpPr txBox="1"/>
          <p:nvPr/>
        </p:nvSpPr>
        <p:spPr>
          <a:xfrm>
            <a:off x="4037261" y="5002057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Exemples de clients-entreprises</a:t>
            </a:r>
          </a:p>
        </p:txBody>
      </p:sp>
      <p:sp>
        <p:nvSpPr>
          <p:cNvPr id="18" name="ZoneTexte 17">
            <a:extLst>
              <a:ext uri="{FF2B5EF4-FFF2-40B4-BE49-F238E27FC236}">
                <a16:creationId xmlns="" xmlns:a16="http://schemas.microsoft.com/office/drawing/2014/main" id="{77AC7459-E016-334D-B382-09703C3999F7}"/>
              </a:ext>
            </a:extLst>
          </p:cNvPr>
          <p:cNvSpPr txBox="1"/>
          <p:nvPr/>
        </p:nvSpPr>
        <p:spPr>
          <a:xfrm>
            <a:off x="1073927" y="5002057"/>
            <a:ext cx="2033340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Formation</a:t>
            </a:r>
          </a:p>
        </p:txBody>
      </p:sp>
      <p:sp>
        <p:nvSpPr>
          <p:cNvPr id="19" name="Espace réservé du texte 34">
            <a:extLst>
              <a:ext uri="{FF2B5EF4-FFF2-40B4-BE49-F238E27FC236}">
                <a16:creationId xmlns="" xmlns:a16="http://schemas.microsoft.com/office/drawing/2014/main" id="{645E2D1D-1932-CA4B-99D3-B183C61A400C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1130557" y="5378178"/>
            <a:ext cx="2661171" cy="624791"/>
          </a:xfrm>
        </p:spPr>
        <p:txBody>
          <a:bodyPr/>
          <a:lstStyle>
            <a:lvl1pPr marL="228594" indent="-228594">
              <a:spcBef>
                <a:spcPts val="267"/>
              </a:spcBef>
              <a:buClr>
                <a:schemeClr val="accent2"/>
              </a:buClr>
              <a:buSzPct val="160000"/>
              <a:buFont typeface="Arial" panose="020B0604020202020204" pitchFamily="34" charset="0"/>
              <a:buChar char="•"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0" name="Espace réservé du texte 34">
            <a:extLst>
              <a:ext uri="{FF2B5EF4-FFF2-40B4-BE49-F238E27FC236}">
                <a16:creationId xmlns="" xmlns:a16="http://schemas.microsoft.com/office/drawing/2014/main" id="{05C88DE1-4DB2-ED46-8793-B9E6176797F9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037261" y="1573017"/>
            <a:ext cx="3007783" cy="624791"/>
          </a:xfrm>
        </p:spPr>
        <p:txBody>
          <a:bodyPr/>
          <a:lstStyle>
            <a:lvl1pPr marL="228594" indent="-228594">
              <a:spcBef>
                <a:spcPts val="267"/>
              </a:spcBef>
              <a:buClr>
                <a:schemeClr val="accent2"/>
              </a:buClr>
              <a:buSzPct val="160000"/>
              <a:buFont typeface="Arial" panose="020B0604020202020204" pitchFamily="34" charset="0"/>
              <a:buChar char="•"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1" name="Espace réservé du texte 34">
            <a:extLst>
              <a:ext uri="{FF2B5EF4-FFF2-40B4-BE49-F238E27FC236}">
                <a16:creationId xmlns="" xmlns:a16="http://schemas.microsoft.com/office/drawing/2014/main" id="{2DEFE1BE-16C8-9A46-BBC9-78C1372997C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082884" y="1573016"/>
            <a:ext cx="3294200" cy="4448901"/>
          </a:xfrm>
        </p:spPr>
        <p:txBody>
          <a:bodyPr/>
          <a:lstStyle>
            <a:lvl1pPr marL="228594" indent="-228594">
              <a:spcBef>
                <a:spcPts val="267"/>
              </a:spcBef>
              <a:buClr>
                <a:schemeClr val="accent3"/>
              </a:buClr>
              <a:buSzPct val="160000"/>
              <a:buFont typeface="Arial" panose="020B0604020202020204" pitchFamily="34" charset="0"/>
              <a:buChar char="•"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22" name="Espace réservé du texte 34">
            <a:extLst>
              <a:ext uri="{FF2B5EF4-FFF2-40B4-BE49-F238E27FC236}">
                <a16:creationId xmlns="" xmlns:a16="http://schemas.microsoft.com/office/drawing/2014/main" id="{CFA52E43-64B6-7C4D-B1EE-AF10CF2EC204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4037261" y="3537283"/>
            <a:ext cx="3007783" cy="624791"/>
          </a:xfrm>
        </p:spPr>
        <p:txBody>
          <a:bodyPr/>
          <a:lstStyle>
            <a:lvl1pPr marL="228594" indent="-228594">
              <a:spcBef>
                <a:spcPts val="267"/>
              </a:spcBef>
              <a:buClr>
                <a:schemeClr val="accent2"/>
              </a:buClr>
              <a:buSzPct val="160000"/>
              <a:buFont typeface="Arial" panose="020B0604020202020204" pitchFamily="34" charset="0"/>
              <a:buChar char="•"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23" name="Espace réservé du texte 34">
            <a:extLst>
              <a:ext uri="{FF2B5EF4-FFF2-40B4-BE49-F238E27FC236}">
                <a16:creationId xmlns="" xmlns:a16="http://schemas.microsoft.com/office/drawing/2014/main" id="{2319477E-23CE-0B42-888B-E74AD50F189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037261" y="5378178"/>
            <a:ext cx="3007783" cy="624791"/>
          </a:xfrm>
        </p:spPr>
        <p:txBody>
          <a:bodyPr/>
          <a:lstStyle>
            <a:lvl1pPr marL="0" indent="0">
              <a:spcBef>
                <a:spcPts val="267"/>
              </a:spcBef>
              <a:buClr>
                <a:schemeClr val="accent2"/>
              </a:buClr>
              <a:buSzPct val="160000"/>
              <a:buFont typeface="Arial" panose="020B0604020202020204" pitchFamily="34" charset="0"/>
              <a:buNone/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47" name="Espace réservé pour une image  14">
            <a:extLst>
              <a:ext uri="{FF2B5EF4-FFF2-40B4-BE49-F238E27FC236}">
                <a16:creationId xmlns="" xmlns:a16="http://schemas.microsoft.com/office/drawing/2014/main" id="{42AD5451-B674-A549-AB2C-3A016CCC85C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5487" y="367327"/>
            <a:ext cx="2614424" cy="2612237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fr-FR" sz="1333" b="0"/>
            </a:lvl1pPr>
          </a:lstStyle>
          <a:p>
            <a:pPr lvl="0" algn="ctr">
              <a:spcBef>
                <a:spcPts val="0"/>
              </a:spcBef>
            </a:pPr>
            <a:r>
              <a:rPr lang="fr-FR" dirty="0"/>
              <a:t>Cliquez sur l'icône pour ajouter une image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="" xmlns:a16="http://schemas.microsoft.com/office/drawing/2014/main" id="{57B65973-540B-6847-8BD3-382C25FD5ABC}"/>
              </a:ext>
            </a:extLst>
          </p:cNvPr>
          <p:cNvSpPr txBox="1"/>
          <p:nvPr/>
        </p:nvSpPr>
        <p:spPr>
          <a:xfrm>
            <a:off x="4037261" y="1160216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ctr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Domaines d’expertise</a:t>
            </a:r>
          </a:p>
        </p:txBody>
      </p:sp>
      <p:sp>
        <p:nvSpPr>
          <p:cNvPr id="24" name="Délai  3">
            <a:extLst>
              <a:ext uri="{FF2B5EF4-FFF2-40B4-BE49-F238E27FC236}">
                <a16:creationId xmlns="" xmlns:a16="http://schemas.microsoft.com/office/drawing/2014/main" id="{04BDD682-E718-4DB5-B4B0-1C818752312D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42545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0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 smtClean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 hasCustomPrompt="1"/>
          </p:nvPr>
        </p:nvSpPr>
        <p:spPr>
          <a:xfrm>
            <a:off x="2339101" y="2799683"/>
            <a:ext cx="7510271" cy="5254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TITRE DE LA PARTIE</a:t>
            </a:r>
            <a:endParaRPr lang="fr-FR" dirty="0">
              <a:solidFill>
                <a:schemeClr val="bg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3590131" y="3511550"/>
            <a:ext cx="5011738" cy="6334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Sous-titre de la partie</a:t>
            </a:r>
            <a:endParaRPr lang="fr-FR" dirty="0">
              <a:solidFill>
                <a:schemeClr val="bg1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460222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ce loca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2AAEF00E-8CD0-7D46-A983-660513150D62}"/>
              </a:ext>
            </a:extLst>
          </p:cNvPr>
          <p:cNvSpPr/>
          <p:nvPr/>
        </p:nvSpPr>
        <p:spPr>
          <a:xfrm flipH="1">
            <a:off x="4289045" y="0"/>
            <a:ext cx="7902955" cy="6858000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fr-FR" sz="2133" dirty="0">
              <a:solidFill>
                <a:srgbClr val="323748"/>
              </a:solidFill>
            </a:endParaRPr>
          </a:p>
        </p:txBody>
      </p:sp>
      <p:sp>
        <p:nvSpPr>
          <p:cNvPr id="40" name="Espace réservé du texte 21">
            <a:extLst>
              <a:ext uri="{FF2B5EF4-FFF2-40B4-BE49-F238E27FC236}">
                <a16:creationId xmlns="" xmlns:a16="http://schemas.microsoft.com/office/drawing/2014/main" id="{ECF41D8D-1A13-1F4A-888C-5BD6BE4F10F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-3304" y="1191962"/>
            <a:ext cx="3873975" cy="1879185"/>
          </a:xfrm>
          <a:custGeom>
            <a:avLst/>
            <a:gdLst>
              <a:gd name="connsiteX0" fmla="*/ 0 w 1836075"/>
              <a:gd name="connsiteY0" fmla="*/ 0 h 1752600"/>
              <a:gd name="connsiteX1" fmla="*/ 918038 w 1836075"/>
              <a:gd name="connsiteY1" fmla="*/ 0 h 1752600"/>
              <a:gd name="connsiteX2" fmla="*/ 1836076 w 1836075"/>
              <a:gd name="connsiteY2" fmla="*/ 876300 h 1752600"/>
              <a:gd name="connsiteX3" fmla="*/ 918038 w 1836075"/>
              <a:gd name="connsiteY3" fmla="*/ 1752600 h 1752600"/>
              <a:gd name="connsiteX4" fmla="*/ 0 w 1836075"/>
              <a:gd name="connsiteY4" fmla="*/ 1752600 h 1752600"/>
              <a:gd name="connsiteX5" fmla="*/ 0 w 1836075"/>
              <a:gd name="connsiteY5" fmla="*/ 0 h 1752600"/>
              <a:gd name="connsiteX0" fmla="*/ 0 w 3115601"/>
              <a:gd name="connsiteY0" fmla="*/ 3175 h 1752600"/>
              <a:gd name="connsiteX1" fmla="*/ 2197563 w 3115601"/>
              <a:gd name="connsiteY1" fmla="*/ 0 h 1752600"/>
              <a:gd name="connsiteX2" fmla="*/ 3115601 w 3115601"/>
              <a:gd name="connsiteY2" fmla="*/ 876300 h 1752600"/>
              <a:gd name="connsiteX3" fmla="*/ 2197563 w 3115601"/>
              <a:gd name="connsiteY3" fmla="*/ 1752600 h 1752600"/>
              <a:gd name="connsiteX4" fmla="*/ 1279525 w 3115601"/>
              <a:gd name="connsiteY4" fmla="*/ 1752600 h 1752600"/>
              <a:gd name="connsiteX5" fmla="*/ 0 w 3115601"/>
              <a:gd name="connsiteY5" fmla="*/ 3175 h 1752600"/>
              <a:gd name="connsiteX0" fmla="*/ 662631 w 3778232"/>
              <a:gd name="connsiteY0" fmla="*/ 3175 h 1767714"/>
              <a:gd name="connsiteX1" fmla="*/ 2860194 w 3778232"/>
              <a:gd name="connsiteY1" fmla="*/ 0 h 1767714"/>
              <a:gd name="connsiteX2" fmla="*/ 3778232 w 3778232"/>
              <a:gd name="connsiteY2" fmla="*/ 876300 h 1767714"/>
              <a:gd name="connsiteX3" fmla="*/ 2860194 w 3778232"/>
              <a:gd name="connsiteY3" fmla="*/ 1752600 h 1767714"/>
              <a:gd name="connsiteX4" fmla="*/ 0 w 3778232"/>
              <a:gd name="connsiteY4" fmla="*/ 1767714 h 1767714"/>
              <a:gd name="connsiteX5" fmla="*/ 662631 w 3778232"/>
              <a:gd name="connsiteY5" fmla="*/ 3175 h 1767714"/>
              <a:gd name="connsiteX0" fmla="*/ 0 w 3784398"/>
              <a:gd name="connsiteY0" fmla="*/ 3175 h 1767714"/>
              <a:gd name="connsiteX1" fmla="*/ 2866360 w 3784398"/>
              <a:gd name="connsiteY1" fmla="*/ 0 h 1767714"/>
              <a:gd name="connsiteX2" fmla="*/ 3784398 w 3784398"/>
              <a:gd name="connsiteY2" fmla="*/ 876300 h 1767714"/>
              <a:gd name="connsiteX3" fmla="*/ 2866360 w 3784398"/>
              <a:gd name="connsiteY3" fmla="*/ 1752600 h 1767714"/>
              <a:gd name="connsiteX4" fmla="*/ 6166 w 3784398"/>
              <a:gd name="connsiteY4" fmla="*/ 1767714 h 1767714"/>
              <a:gd name="connsiteX5" fmla="*/ 0 w 378439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800106 w 4578338"/>
              <a:gd name="connsiteY4" fmla="*/ 1767714 h 1767714"/>
              <a:gd name="connsiteX5" fmla="*/ 0 w 457833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6166 w 4578338"/>
              <a:gd name="connsiteY4" fmla="*/ 1767714 h 1767714"/>
              <a:gd name="connsiteX5" fmla="*/ 0 w 4578338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01499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167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54184"/>
              <a:gd name="connsiteX1" fmla="*/ 4255633 w 5173671"/>
              <a:gd name="connsiteY1" fmla="*/ 0 h 1754184"/>
              <a:gd name="connsiteX2" fmla="*/ 5173671 w 5173671"/>
              <a:gd name="connsiteY2" fmla="*/ 876300 h 1754184"/>
              <a:gd name="connsiteX3" fmla="*/ 4255633 w 5173671"/>
              <a:gd name="connsiteY3" fmla="*/ 1752600 h 1754184"/>
              <a:gd name="connsiteX4" fmla="*/ 39993 w 5173671"/>
              <a:gd name="connsiteY4" fmla="*/ 1754184 h 1754184"/>
              <a:gd name="connsiteX5" fmla="*/ 0 w 5173671"/>
              <a:gd name="connsiteY5" fmla="*/ 3175 h 1754184"/>
              <a:gd name="connsiteX0" fmla="*/ 0 w 5157228"/>
              <a:gd name="connsiteY0" fmla="*/ 3175 h 1754184"/>
              <a:gd name="connsiteX1" fmla="*/ 4239190 w 5157228"/>
              <a:gd name="connsiteY1" fmla="*/ 0 h 1754184"/>
              <a:gd name="connsiteX2" fmla="*/ 5157228 w 5157228"/>
              <a:gd name="connsiteY2" fmla="*/ 876300 h 1754184"/>
              <a:gd name="connsiteX3" fmla="*/ 4239190 w 5157228"/>
              <a:gd name="connsiteY3" fmla="*/ 1752600 h 1754184"/>
              <a:gd name="connsiteX4" fmla="*/ 23550 w 5157228"/>
              <a:gd name="connsiteY4" fmla="*/ 1754184 h 1754184"/>
              <a:gd name="connsiteX5" fmla="*/ 0 w 5157228"/>
              <a:gd name="connsiteY5" fmla="*/ 3175 h 1754184"/>
              <a:gd name="connsiteX0" fmla="*/ 5523 w 5162751"/>
              <a:gd name="connsiteY0" fmla="*/ 3175 h 1752601"/>
              <a:gd name="connsiteX1" fmla="*/ 4244713 w 5162751"/>
              <a:gd name="connsiteY1" fmla="*/ 0 h 1752601"/>
              <a:gd name="connsiteX2" fmla="*/ 5162751 w 5162751"/>
              <a:gd name="connsiteY2" fmla="*/ 876300 h 1752601"/>
              <a:gd name="connsiteX3" fmla="*/ 4244713 w 5162751"/>
              <a:gd name="connsiteY3" fmla="*/ 1752600 h 1752601"/>
              <a:gd name="connsiteX4" fmla="*/ 297 w 5162751"/>
              <a:gd name="connsiteY4" fmla="*/ 1745962 h 1752601"/>
              <a:gd name="connsiteX5" fmla="*/ 5523 w 5162751"/>
              <a:gd name="connsiteY5" fmla="*/ 3175 h 1752601"/>
              <a:gd name="connsiteX0" fmla="*/ 974526 w 5162458"/>
              <a:gd name="connsiteY0" fmla="*/ 0 h 1754531"/>
              <a:gd name="connsiteX1" fmla="*/ 4244420 w 5162458"/>
              <a:gd name="connsiteY1" fmla="*/ 1931 h 1754531"/>
              <a:gd name="connsiteX2" fmla="*/ 5162458 w 5162458"/>
              <a:gd name="connsiteY2" fmla="*/ 878231 h 1754531"/>
              <a:gd name="connsiteX3" fmla="*/ 4244420 w 5162458"/>
              <a:gd name="connsiteY3" fmla="*/ 1754531 h 1754531"/>
              <a:gd name="connsiteX4" fmla="*/ 4 w 5162458"/>
              <a:gd name="connsiteY4" fmla="*/ 1747893 h 1754531"/>
              <a:gd name="connsiteX5" fmla="*/ 974526 w 5162458"/>
              <a:gd name="connsiteY5" fmla="*/ 0 h 1754531"/>
              <a:gd name="connsiteX0" fmla="*/ -1 w 4187931"/>
              <a:gd name="connsiteY0" fmla="*/ 0 h 1754531"/>
              <a:gd name="connsiteX1" fmla="*/ 3269893 w 4187931"/>
              <a:gd name="connsiteY1" fmla="*/ 1931 h 1754531"/>
              <a:gd name="connsiteX2" fmla="*/ 4187931 w 4187931"/>
              <a:gd name="connsiteY2" fmla="*/ 878231 h 1754531"/>
              <a:gd name="connsiteX3" fmla="*/ 3269893 w 4187931"/>
              <a:gd name="connsiteY3" fmla="*/ 1754531 h 1754531"/>
              <a:gd name="connsiteX4" fmla="*/ 684 w 4187931"/>
              <a:gd name="connsiteY4" fmla="*/ 1752999 h 1754531"/>
              <a:gd name="connsiteX5" fmla="*/ -1 w 4187931"/>
              <a:gd name="connsiteY5" fmla="*/ 0 h 17545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187931" h="1754531">
                <a:moveTo>
                  <a:pt x="-1" y="0"/>
                </a:moveTo>
                <a:lnTo>
                  <a:pt x="3269893" y="1931"/>
                </a:lnTo>
                <a:cubicBezTo>
                  <a:pt x="3776911" y="1931"/>
                  <a:pt x="4187931" y="394264"/>
                  <a:pt x="4187931" y="878231"/>
                </a:cubicBezTo>
                <a:cubicBezTo>
                  <a:pt x="4187931" y="1362198"/>
                  <a:pt x="3776911" y="1754531"/>
                  <a:pt x="3269893" y="1754531"/>
                </a:cubicBezTo>
                <a:lnTo>
                  <a:pt x="684" y="1752999"/>
                </a:lnTo>
                <a:cubicBezTo>
                  <a:pt x="-1371" y="1164819"/>
                  <a:pt x="2054" y="588180"/>
                  <a:pt x="-1" y="0"/>
                </a:cubicBezTo>
                <a:close/>
              </a:path>
            </a:pathLst>
          </a:custGeom>
          <a:solidFill>
            <a:srgbClr val="59108D">
              <a:alpha val="90000"/>
            </a:srgbClr>
          </a:solidFill>
        </p:spPr>
        <p:txBody>
          <a:bodyPr lIns="576000" tIns="288000" rIns="0" anchor="t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67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Page éditoriale</a:t>
            </a:r>
          </a:p>
        </p:txBody>
      </p:sp>
      <p:sp>
        <p:nvSpPr>
          <p:cNvPr id="41" name="Espace réservé du texte 13">
            <a:extLst>
              <a:ext uri="{FF2B5EF4-FFF2-40B4-BE49-F238E27FC236}">
                <a16:creationId xmlns="" xmlns:a16="http://schemas.microsoft.com/office/drawing/2014/main" id="{0218B924-25B0-9B46-81D8-A95E1B65BB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-1037" y="3231799"/>
            <a:ext cx="3860039" cy="2842152"/>
          </a:xfrm>
          <a:custGeom>
            <a:avLst/>
            <a:gdLst>
              <a:gd name="connsiteX0" fmla="*/ 0 w 1977064"/>
              <a:gd name="connsiteY0" fmla="*/ 0 h 2129900"/>
              <a:gd name="connsiteX1" fmla="*/ 988532 w 1977064"/>
              <a:gd name="connsiteY1" fmla="*/ 0 h 2129900"/>
              <a:gd name="connsiteX2" fmla="*/ 1977064 w 1977064"/>
              <a:gd name="connsiteY2" fmla="*/ 1064950 h 2129900"/>
              <a:gd name="connsiteX3" fmla="*/ 988532 w 1977064"/>
              <a:gd name="connsiteY3" fmla="*/ 2129900 h 2129900"/>
              <a:gd name="connsiteX4" fmla="*/ 0 w 1977064"/>
              <a:gd name="connsiteY4" fmla="*/ 2129900 h 2129900"/>
              <a:gd name="connsiteX5" fmla="*/ 0 w 1977064"/>
              <a:gd name="connsiteY5" fmla="*/ 0 h 2129900"/>
              <a:gd name="connsiteX0" fmla="*/ 0 w 2758114"/>
              <a:gd name="connsiteY0" fmla="*/ 0 h 2133075"/>
              <a:gd name="connsiteX1" fmla="*/ 1769582 w 2758114"/>
              <a:gd name="connsiteY1" fmla="*/ 3175 h 2133075"/>
              <a:gd name="connsiteX2" fmla="*/ 2758114 w 2758114"/>
              <a:gd name="connsiteY2" fmla="*/ 1068125 h 2133075"/>
              <a:gd name="connsiteX3" fmla="*/ 1769582 w 2758114"/>
              <a:gd name="connsiteY3" fmla="*/ 2133075 h 2133075"/>
              <a:gd name="connsiteX4" fmla="*/ 781050 w 2758114"/>
              <a:gd name="connsiteY4" fmla="*/ 2133075 h 2133075"/>
              <a:gd name="connsiteX5" fmla="*/ 0 w 2758114"/>
              <a:gd name="connsiteY5" fmla="*/ 0 h 2133075"/>
              <a:gd name="connsiteX0" fmla="*/ 0 w 2758114"/>
              <a:gd name="connsiteY0" fmla="*/ 0 h 2133075"/>
              <a:gd name="connsiteX1" fmla="*/ 1769582 w 2758114"/>
              <a:gd name="connsiteY1" fmla="*/ 3175 h 2133075"/>
              <a:gd name="connsiteX2" fmla="*/ 2758114 w 2758114"/>
              <a:gd name="connsiteY2" fmla="*/ 1068125 h 2133075"/>
              <a:gd name="connsiteX3" fmla="*/ 1769582 w 2758114"/>
              <a:gd name="connsiteY3" fmla="*/ 2133075 h 2133075"/>
              <a:gd name="connsiteX4" fmla="*/ 0 w 2758114"/>
              <a:gd name="connsiteY4" fmla="*/ 2133075 h 2133075"/>
              <a:gd name="connsiteX5" fmla="*/ 0 w 2758114"/>
              <a:gd name="connsiteY5" fmla="*/ 0 h 2133075"/>
              <a:gd name="connsiteX0" fmla="*/ 6350 w 2758114"/>
              <a:gd name="connsiteY0" fmla="*/ 3175 h 2129900"/>
              <a:gd name="connsiteX1" fmla="*/ 1769582 w 2758114"/>
              <a:gd name="connsiteY1" fmla="*/ 0 h 2129900"/>
              <a:gd name="connsiteX2" fmla="*/ 2758114 w 2758114"/>
              <a:gd name="connsiteY2" fmla="*/ 1064950 h 2129900"/>
              <a:gd name="connsiteX3" fmla="*/ 1769582 w 2758114"/>
              <a:gd name="connsiteY3" fmla="*/ 2129900 h 2129900"/>
              <a:gd name="connsiteX4" fmla="*/ 0 w 2758114"/>
              <a:gd name="connsiteY4" fmla="*/ 2129900 h 2129900"/>
              <a:gd name="connsiteX5" fmla="*/ 6350 w 2758114"/>
              <a:gd name="connsiteY5" fmla="*/ 3175 h 2129900"/>
              <a:gd name="connsiteX0" fmla="*/ 24 w 2888704"/>
              <a:gd name="connsiteY0" fmla="*/ 0 h 2131614"/>
              <a:gd name="connsiteX1" fmla="*/ 1900172 w 2888704"/>
              <a:gd name="connsiteY1" fmla="*/ 1714 h 2131614"/>
              <a:gd name="connsiteX2" fmla="*/ 2888704 w 2888704"/>
              <a:gd name="connsiteY2" fmla="*/ 1066664 h 2131614"/>
              <a:gd name="connsiteX3" fmla="*/ 1900172 w 2888704"/>
              <a:gd name="connsiteY3" fmla="*/ 2131614 h 2131614"/>
              <a:gd name="connsiteX4" fmla="*/ 130590 w 2888704"/>
              <a:gd name="connsiteY4" fmla="*/ 2131614 h 2131614"/>
              <a:gd name="connsiteX5" fmla="*/ 24 w 2888704"/>
              <a:gd name="connsiteY5" fmla="*/ 0 h 2131614"/>
              <a:gd name="connsiteX0" fmla="*/ 6349 w 2895029"/>
              <a:gd name="connsiteY0" fmla="*/ 0 h 2131614"/>
              <a:gd name="connsiteX1" fmla="*/ 1906497 w 2895029"/>
              <a:gd name="connsiteY1" fmla="*/ 1714 h 2131614"/>
              <a:gd name="connsiteX2" fmla="*/ 2895029 w 2895029"/>
              <a:gd name="connsiteY2" fmla="*/ 1066664 h 2131614"/>
              <a:gd name="connsiteX3" fmla="*/ 1906497 w 2895029"/>
              <a:gd name="connsiteY3" fmla="*/ 2131614 h 2131614"/>
              <a:gd name="connsiteX4" fmla="*/ 0 w 2895029"/>
              <a:gd name="connsiteY4" fmla="*/ 2121834 h 2131614"/>
              <a:gd name="connsiteX5" fmla="*/ 6349 w 2895029"/>
              <a:gd name="connsiteY5" fmla="*/ 0 h 21316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895029" h="2131614">
                <a:moveTo>
                  <a:pt x="6349" y="0"/>
                </a:moveTo>
                <a:lnTo>
                  <a:pt x="1906497" y="1714"/>
                </a:lnTo>
                <a:cubicBezTo>
                  <a:pt x="2452448" y="1714"/>
                  <a:pt x="2895029" y="478508"/>
                  <a:pt x="2895029" y="1066664"/>
                </a:cubicBezTo>
                <a:cubicBezTo>
                  <a:pt x="2895029" y="1654820"/>
                  <a:pt x="2452448" y="2131614"/>
                  <a:pt x="1906497" y="2131614"/>
                </a:cubicBezTo>
                <a:lnTo>
                  <a:pt x="0" y="2121834"/>
                </a:lnTo>
                <a:cubicBezTo>
                  <a:pt x="2117" y="1412926"/>
                  <a:pt x="4232" y="708908"/>
                  <a:pt x="6349" y="0"/>
                </a:cubicBezTo>
                <a:close/>
              </a:path>
            </a:pathLst>
          </a:custGeom>
          <a:solidFill>
            <a:schemeClr val="bg1"/>
          </a:solidFill>
        </p:spPr>
        <p:txBody>
          <a:bodyPr lIns="1080000" tIns="251999"/>
          <a:lstStyle>
            <a:lvl1pPr>
              <a:spcBef>
                <a:spcPts val="400"/>
              </a:spcBef>
              <a:defRPr sz="1067" b="0">
                <a:solidFill>
                  <a:schemeClr val="tx2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42" name="Espace réservé du texte 12">
            <a:extLst>
              <a:ext uri="{FF2B5EF4-FFF2-40B4-BE49-F238E27FC236}">
                <a16:creationId xmlns="" xmlns:a16="http://schemas.microsoft.com/office/drawing/2014/main" id="{657412EB-E5E4-3146-A7B2-B240B659BA3D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569885" y="2604954"/>
            <a:ext cx="3058583" cy="3416964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3" name="Espace réservé du texte 12">
            <a:extLst>
              <a:ext uri="{FF2B5EF4-FFF2-40B4-BE49-F238E27FC236}">
                <a16:creationId xmlns="" xmlns:a16="http://schemas.microsoft.com/office/drawing/2014/main" id="{182FCC7A-860F-9841-944A-66DBC3E574BA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88455" y="2604954"/>
            <a:ext cx="3058583" cy="3416964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4" name="Titre 14">
            <a:extLst>
              <a:ext uri="{FF2B5EF4-FFF2-40B4-BE49-F238E27FC236}">
                <a16:creationId xmlns="" xmlns:a16="http://schemas.microsoft.com/office/drawing/2014/main" id="{886EEBD8-E406-A44F-A4A3-2FFC7659A8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6266" y="209820"/>
            <a:ext cx="3472781" cy="798368"/>
          </a:xfrm>
        </p:spPr>
        <p:txBody>
          <a:bodyPr/>
          <a:lstStyle>
            <a:lvl1pPr>
              <a:defRPr/>
            </a:lvl1pPr>
          </a:lstStyle>
          <a:p>
            <a:r>
              <a:rPr lang="fr-FR" dirty="0"/>
              <a:t>Agence</a:t>
            </a:r>
          </a:p>
        </p:txBody>
      </p:sp>
      <p:sp>
        <p:nvSpPr>
          <p:cNvPr id="45" name="Espace réservé du texte 16">
            <a:extLst>
              <a:ext uri="{FF2B5EF4-FFF2-40B4-BE49-F238E27FC236}">
                <a16:creationId xmlns="" xmlns:a16="http://schemas.microsoft.com/office/drawing/2014/main" id="{91762DBD-C8D1-FF4A-9BD8-01E90B61FB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 rot="16200000">
            <a:off x="10413903" y="4375813"/>
            <a:ext cx="2480485" cy="554124"/>
          </a:xfrm>
          <a:noFill/>
        </p:spPr>
        <p:txBody>
          <a:bodyPr/>
          <a:lstStyle>
            <a:lvl1pPr algn="l">
              <a:defRPr sz="4000">
                <a:solidFill>
                  <a:schemeClr val="bg2"/>
                </a:solidFill>
              </a:defRPr>
            </a:lvl1pPr>
          </a:lstStyle>
          <a:p>
            <a:r>
              <a:rPr lang="fr-FR" dirty="0"/>
              <a:t>PAYS</a:t>
            </a:r>
          </a:p>
        </p:txBody>
      </p:sp>
      <p:sp>
        <p:nvSpPr>
          <p:cNvPr id="47" name="Espace réservé pour une image  14">
            <a:extLst>
              <a:ext uri="{FF2B5EF4-FFF2-40B4-BE49-F238E27FC236}">
                <a16:creationId xmlns="" xmlns:a16="http://schemas.microsoft.com/office/drawing/2014/main" id="{FAD13A43-9E36-2344-8FB8-228099E3454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780001" y="3459685"/>
            <a:ext cx="491357" cy="490947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fr-FR" sz="800" b="0" dirty="0"/>
            </a:lvl1pPr>
          </a:lstStyle>
          <a:p>
            <a:pPr lvl="0" algn="ctr">
              <a:spcBef>
                <a:spcPts val="0"/>
              </a:spcBef>
            </a:pPr>
            <a:r>
              <a:rPr lang="fr-FR" dirty="0"/>
              <a:t>Photo</a:t>
            </a:r>
          </a:p>
        </p:txBody>
      </p:sp>
      <p:sp>
        <p:nvSpPr>
          <p:cNvPr id="48" name="Espace réservé pour une image  14">
            <a:extLst>
              <a:ext uri="{FF2B5EF4-FFF2-40B4-BE49-F238E27FC236}">
                <a16:creationId xmlns="" xmlns:a16="http://schemas.microsoft.com/office/drawing/2014/main" id="{CD60D745-24B9-7949-9274-3E257F5B3964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780001" y="4114992"/>
            <a:ext cx="491357" cy="490947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fr-FR" sz="800" b="0" dirty="0"/>
            </a:lvl1pPr>
          </a:lstStyle>
          <a:p>
            <a:pPr lvl="0" algn="ctr">
              <a:spcBef>
                <a:spcPts val="0"/>
              </a:spcBef>
            </a:pPr>
            <a:r>
              <a:rPr lang="fr-FR" dirty="0"/>
              <a:t>Photo</a:t>
            </a:r>
          </a:p>
        </p:txBody>
      </p:sp>
      <p:sp>
        <p:nvSpPr>
          <p:cNvPr id="49" name="Espace réservé pour une image  14">
            <a:extLst>
              <a:ext uri="{FF2B5EF4-FFF2-40B4-BE49-F238E27FC236}">
                <a16:creationId xmlns="" xmlns:a16="http://schemas.microsoft.com/office/drawing/2014/main" id="{BDB916E1-6EDB-0A4F-9DA1-B588A345FDFD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780001" y="4770299"/>
            <a:ext cx="491357" cy="490947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fr-FR" sz="800" b="0" dirty="0"/>
            </a:lvl1pPr>
          </a:lstStyle>
          <a:p>
            <a:pPr lvl="0" algn="ctr">
              <a:spcBef>
                <a:spcPts val="0"/>
              </a:spcBef>
            </a:pPr>
            <a:r>
              <a:rPr lang="fr-FR" dirty="0"/>
              <a:t>Photo</a:t>
            </a:r>
          </a:p>
        </p:txBody>
      </p:sp>
      <p:sp>
        <p:nvSpPr>
          <p:cNvPr id="50" name="Espace réservé pour une image  14">
            <a:extLst>
              <a:ext uri="{FF2B5EF4-FFF2-40B4-BE49-F238E27FC236}">
                <a16:creationId xmlns="" xmlns:a16="http://schemas.microsoft.com/office/drawing/2014/main" id="{91D32251-CFBC-E743-9311-0ACD372BF7E3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80001" y="5425607"/>
            <a:ext cx="491357" cy="490947"/>
          </a:xfrm>
          <a:prstGeom prst="ellipse">
            <a:avLst/>
          </a:pr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fr-FR" sz="800" b="0"/>
            </a:lvl1pPr>
          </a:lstStyle>
          <a:p>
            <a:pPr lvl="0" algn="ctr">
              <a:spcBef>
                <a:spcPts val="0"/>
              </a:spcBef>
            </a:pPr>
            <a:r>
              <a:rPr lang="fr-FR" dirty="0"/>
              <a:t>Photo</a:t>
            </a:r>
          </a:p>
        </p:txBody>
      </p:sp>
      <p:sp>
        <p:nvSpPr>
          <p:cNvPr id="58" name="Espace réservé du texte vertical 7">
            <a:extLst>
              <a:ext uri="{FF2B5EF4-FFF2-40B4-BE49-F238E27FC236}">
                <a16:creationId xmlns="" xmlns:a16="http://schemas.microsoft.com/office/drawing/2014/main" id="{B0FF277A-0D4E-2845-A465-3429C483ABA2}"/>
              </a:ext>
            </a:extLst>
          </p:cNvPr>
          <p:cNvSpPr>
            <a:spLocks noGrp="1"/>
          </p:cNvSpPr>
          <p:nvPr>
            <p:ph type="body" orient="vert" sz="quarter" idx="30" hasCustomPrompt="1"/>
          </p:nvPr>
        </p:nvSpPr>
        <p:spPr>
          <a:xfrm rot="10800000">
            <a:off x="328597" y="1293171"/>
            <a:ext cx="266635" cy="1488000"/>
          </a:xfrm>
          <a:noFill/>
          <a:ln>
            <a:solidFill>
              <a:srgbClr val="651D93"/>
            </a:solidFill>
          </a:ln>
        </p:spPr>
        <p:txBody>
          <a:bodyPr vert="eaVert"/>
          <a:lstStyle>
            <a:lvl1pPr>
              <a:spcBef>
                <a:spcPts val="0"/>
              </a:spcBef>
              <a:defRPr>
                <a:ln>
                  <a:noFill/>
                </a:ln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Nos expertises</a:t>
            </a:r>
          </a:p>
        </p:txBody>
      </p:sp>
      <p:sp>
        <p:nvSpPr>
          <p:cNvPr id="59" name="Espace réservé du texte vertical 7">
            <a:extLst>
              <a:ext uri="{FF2B5EF4-FFF2-40B4-BE49-F238E27FC236}">
                <a16:creationId xmlns="" xmlns:a16="http://schemas.microsoft.com/office/drawing/2014/main" id="{537371AC-2F00-914B-9DEE-33CEC01B018D}"/>
              </a:ext>
            </a:extLst>
          </p:cNvPr>
          <p:cNvSpPr>
            <a:spLocks noGrp="1"/>
          </p:cNvSpPr>
          <p:nvPr>
            <p:ph type="body" orient="vert" sz="quarter" idx="31" hasCustomPrompt="1"/>
          </p:nvPr>
        </p:nvSpPr>
        <p:spPr>
          <a:xfrm rot="10800000">
            <a:off x="326544" y="3812212"/>
            <a:ext cx="266635" cy="1440000"/>
          </a:xfrm>
          <a:noFill/>
          <a:ln>
            <a:solidFill>
              <a:schemeClr val="bg1"/>
            </a:solidFill>
          </a:ln>
        </p:spPr>
        <p:txBody>
          <a:bodyPr vert="eaVert"/>
          <a:lstStyle>
            <a:lvl1pPr>
              <a:spcBef>
                <a:spcPts val="0"/>
              </a:spcBef>
              <a:defRPr baseline="0">
                <a:ln>
                  <a:noFill/>
                </a:ln>
                <a:solidFill>
                  <a:schemeClr val="accent3"/>
                </a:solidFill>
              </a:defRPr>
            </a:lvl1pPr>
          </a:lstStyle>
          <a:p>
            <a:pPr lvl="0"/>
            <a:r>
              <a:rPr lang="fr-FR" dirty="0"/>
              <a:t>Notre équipe</a:t>
            </a:r>
          </a:p>
        </p:txBody>
      </p:sp>
      <p:sp>
        <p:nvSpPr>
          <p:cNvPr id="60" name="Espace réservé pour une image  4">
            <a:extLst>
              <a:ext uri="{FF2B5EF4-FFF2-40B4-BE49-F238E27FC236}">
                <a16:creationId xmlns="" xmlns:a16="http://schemas.microsoft.com/office/drawing/2014/main" id="{D0960A15-E186-B246-8BF5-87082E144A16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 bwMode="gray">
          <a:xfrm>
            <a:off x="4466054" y="-20475"/>
            <a:ext cx="7739383" cy="2302496"/>
          </a:xfrm>
          <a:custGeom>
            <a:avLst/>
            <a:gdLst>
              <a:gd name="connsiteX0" fmla="*/ 0 w 3414712"/>
              <a:gd name="connsiteY0" fmla="*/ 1706563 h 3413125"/>
              <a:gd name="connsiteX1" fmla="*/ 1706563 w 3414712"/>
              <a:gd name="connsiteY1" fmla="*/ 0 h 3413125"/>
              <a:gd name="connsiteX2" fmla="*/ 1708150 w 3414712"/>
              <a:gd name="connsiteY2" fmla="*/ 0 h 3413125"/>
              <a:gd name="connsiteX3" fmla="*/ 3414713 w 3414712"/>
              <a:gd name="connsiteY3" fmla="*/ 1706563 h 3413125"/>
              <a:gd name="connsiteX4" fmla="*/ 3414712 w 3414712"/>
              <a:gd name="connsiteY4" fmla="*/ 1706563 h 3413125"/>
              <a:gd name="connsiteX5" fmla="*/ 1708149 w 3414712"/>
              <a:gd name="connsiteY5" fmla="*/ 3413126 h 3413125"/>
              <a:gd name="connsiteX6" fmla="*/ 1706563 w 3414712"/>
              <a:gd name="connsiteY6" fmla="*/ 3413125 h 3413125"/>
              <a:gd name="connsiteX7" fmla="*/ 0 w 3414712"/>
              <a:gd name="connsiteY7" fmla="*/ 1706562 h 3413125"/>
              <a:gd name="connsiteX8" fmla="*/ 0 w 3414712"/>
              <a:gd name="connsiteY8" fmla="*/ 1706563 h 3413125"/>
              <a:gd name="connsiteX0" fmla="*/ 0 w 3770295"/>
              <a:gd name="connsiteY0" fmla="*/ 1706563 h 3413126"/>
              <a:gd name="connsiteX1" fmla="*/ 1706563 w 3770295"/>
              <a:gd name="connsiteY1" fmla="*/ 0 h 3413126"/>
              <a:gd name="connsiteX2" fmla="*/ 3327545 w 3770295"/>
              <a:gd name="connsiteY2" fmla="*/ 6980 h 3413126"/>
              <a:gd name="connsiteX3" fmla="*/ 3414713 w 3770295"/>
              <a:gd name="connsiteY3" fmla="*/ 1706563 h 3413126"/>
              <a:gd name="connsiteX4" fmla="*/ 3414712 w 3770295"/>
              <a:gd name="connsiteY4" fmla="*/ 1706563 h 3413126"/>
              <a:gd name="connsiteX5" fmla="*/ 1708149 w 3770295"/>
              <a:gd name="connsiteY5" fmla="*/ 3413126 h 3413126"/>
              <a:gd name="connsiteX6" fmla="*/ 1706563 w 3770295"/>
              <a:gd name="connsiteY6" fmla="*/ 3413125 h 3413126"/>
              <a:gd name="connsiteX7" fmla="*/ 0 w 3770295"/>
              <a:gd name="connsiteY7" fmla="*/ 1706562 h 3413126"/>
              <a:gd name="connsiteX8" fmla="*/ 0 w 3770295"/>
              <a:gd name="connsiteY8" fmla="*/ 1706563 h 3413126"/>
              <a:gd name="connsiteX0" fmla="*/ 0 w 3765340"/>
              <a:gd name="connsiteY0" fmla="*/ 1713543 h 3420106"/>
              <a:gd name="connsiteX1" fmla="*/ 1706563 w 3765340"/>
              <a:gd name="connsiteY1" fmla="*/ 6980 h 3420106"/>
              <a:gd name="connsiteX2" fmla="*/ 3320564 w 3765340"/>
              <a:gd name="connsiteY2" fmla="*/ 0 h 3420106"/>
              <a:gd name="connsiteX3" fmla="*/ 3414713 w 3765340"/>
              <a:gd name="connsiteY3" fmla="*/ 1713543 h 3420106"/>
              <a:gd name="connsiteX4" fmla="*/ 3414712 w 3765340"/>
              <a:gd name="connsiteY4" fmla="*/ 1713543 h 3420106"/>
              <a:gd name="connsiteX5" fmla="*/ 1708149 w 3765340"/>
              <a:gd name="connsiteY5" fmla="*/ 3420106 h 3420106"/>
              <a:gd name="connsiteX6" fmla="*/ 1706563 w 3765340"/>
              <a:gd name="connsiteY6" fmla="*/ 3420105 h 3420106"/>
              <a:gd name="connsiteX7" fmla="*/ 0 w 3765340"/>
              <a:gd name="connsiteY7" fmla="*/ 1713542 h 3420106"/>
              <a:gd name="connsiteX8" fmla="*/ 0 w 3765340"/>
              <a:gd name="connsiteY8" fmla="*/ 1713543 h 3420106"/>
              <a:gd name="connsiteX0" fmla="*/ 0 w 3414713"/>
              <a:gd name="connsiteY0" fmla="*/ 1713543 h 3420106"/>
              <a:gd name="connsiteX1" fmla="*/ 1706563 w 3414713"/>
              <a:gd name="connsiteY1" fmla="*/ 6980 h 3420106"/>
              <a:gd name="connsiteX2" fmla="*/ 3320564 w 3414713"/>
              <a:gd name="connsiteY2" fmla="*/ 0 h 3420106"/>
              <a:gd name="connsiteX3" fmla="*/ 3414713 w 3414713"/>
              <a:gd name="connsiteY3" fmla="*/ 1713543 h 3420106"/>
              <a:gd name="connsiteX4" fmla="*/ 3414712 w 3414713"/>
              <a:gd name="connsiteY4" fmla="*/ 1713543 h 3420106"/>
              <a:gd name="connsiteX5" fmla="*/ 1708149 w 3414713"/>
              <a:gd name="connsiteY5" fmla="*/ 3420106 h 3420106"/>
              <a:gd name="connsiteX6" fmla="*/ 1706563 w 3414713"/>
              <a:gd name="connsiteY6" fmla="*/ 3420105 h 3420106"/>
              <a:gd name="connsiteX7" fmla="*/ 0 w 3414713"/>
              <a:gd name="connsiteY7" fmla="*/ 1713542 h 3420106"/>
              <a:gd name="connsiteX8" fmla="*/ 0 w 3414713"/>
              <a:gd name="connsiteY8" fmla="*/ 1713543 h 3420106"/>
              <a:gd name="connsiteX0" fmla="*/ 0 w 3414713"/>
              <a:gd name="connsiteY0" fmla="*/ 1713543 h 3434065"/>
              <a:gd name="connsiteX1" fmla="*/ 1706563 w 3414713"/>
              <a:gd name="connsiteY1" fmla="*/ 6980 h 3434065"/>
              <a:gd name="connsiteX2" fmla="*/ 3320564 w 3414713"/>
              <a:gd name="connsiteY2" fmla="*/ 0 h 3434065"/>
              <a:gd name="connsiteX3" fmla="*/ 3414713 w 3414713"/>
              <a:gd name="connsiteY3" fmla="*/ 1713543 h 3434065"/>
              <a:gd name="connsiteX4" fmla="*/ 3414712 w 3414713"/>
              <a:gd name="connsiteY4" fmla="*/ 1713543 h 3434065"/>
              <a:gd name="connsiteX5" fmla="*/ 1708149 w 3414713"/>
              <a:gd name="connsiteY5" fmla="*/ 3420106 h 3434065"/>
              <a:gd name="connsiteX6" fmla="*/ 1553000 w 3414713"/>
              <a:gd name="connsiteY6" fmla="*/ 3434065 h 3434065"/>
              <a:gd name="connsiteX7" fmla="*/ 0 w 3414713"/>
              <a:gd name="connsiteY7" fmla="*/ 1713542 h 3434065"/>
              <a:gd name="connsiteX8" fmla="*/ 0 w 3414713"/>
              <a:gd name="connsiteY8" fmla="*/ 1713543 h 3434065"/>
              <a:gd name="connsiteX0" fmla="*/ 0 w 3765340"/>
              <a:gd name="connsiteY0" fmla="*/ 1713543 h 3434065"/>
              <a:gd name="connsiteX1" fmla="*/ 1706563 w 3765340"/>
              <a:gd name="connsiteY1" fmla="*/ 6980 h 3434065"/>
              <a:gd name="connsiteX2" fmla="*/ 3320564 w 3765340"/>
              <a:gd name="connsiteY2" fmla="*/ 0 h 3434065"/>
              <a:gd name="connsiteX3" fmla="*/ 3414713 w 3765340"/>
              <a:gd name="connsiteY3" fmla="*/ 1713543 h 3434065"/>
              <a:gd name="connsiteX4" fmla="*/ 3414712 w 3765340"/>
              <a:gd name="connsiteY4" fmla="*/ 1713543 h 3434065"/>
              <a:gd name="connsiteX5" fmla="*/ 3320564 w 3765340"/>
              <a:gd name="connsiteY5" fmla="*/ 3420106 h 3434065"/>
              <a:gd name="connsiteX6" fmla="*/ 1553000 w 3765340"/>
              <a:gd name="connsiteY6" fmla="*/ 3434065 h 3434065"/>
              <a:gd name="connsiteX7" fmla="*/ 0 w 3765340"/>
              <a:gd name="connsiteY7" fmla="*/ 1713542 h 3434065"/>
              <a:gd name="connsiteX8" fmla="*/ 0 w 3765340"/>
              <a:gd name="connsiteY8" fmla="*/ 1713543 h 3434065"/>
              <a:gd name="connsiteX0" fmla="*/ 0 w 3765340"/>
              <a:gd name="connsiteY0" fmla="*/ 1713543 h 3427085"/>
              <a:gd name="connsiteX1" fmla="*/ 1706563 w 3765340"/>
              <a:gd name="connsiteY1" fmla="*/ 6980 h 3427085"/>
              <a:gd name="connsiteX2" fmla="*/ 3320564 w 3765340"/>
              <a:gd name="connsiteY2" fmla="*/ 0 h 3427085"/>
              <a:gd name="connsiteX3" fmla="*/ 3414713 w 3765340"/>
              <a:gd name="connsiteY3" fmla="*/ 1713543 h 3427085"/>
              <a:gd name="connsiteX4" fmla="*/ 3414712 w 3765340"/>
              <a:gd name="connsiteY4" fmla="*/ 1713543 h 3427085"/>
              <a:gd name="connsiteX5" fmla="*/ 3320564 w 3765340"/>
              <a:gd name="connsiteY5" fmla="*/ 3420106 h 3427085"/>
              <a:gd name="connsiteX6" fmla="*/ 1636762 w 3765340"/>
              <a:gd name="connsiteY6" fmla="*/ 3427085 h 3427085"/>
              <a:gd name="connsiteX7" fmla="*/ 0 w 3765340"/>
              <a:gd name="connsiteY7" fmla="*/ 1713542 h 3427085"/>
              <a:gd name="connsiteX8" fmla="*/ 0 w 3765340"/>
              <a:gd name="connsiteY8" fmla="*/ 1713543 h 3427085"/>
              <a:gd name="connsiteX0" fmla="*/ 0 w 3414713"/>
              <a:gd name="connsiteY0" fmla="*/ 1713543 h 3427085"/>
              <a:gd name="connsiteX1" fmla="*/ 1706563 w 3414713"/>
              <a:gd name="connsiteY1" fmla="*/ 6980 h 3427085"/>
              <a:gd name="connsiteX2" fmla="*/ 3320564 w 3414713"/>
              <a:gd name="connsiteY2" fmla="*/ 0 h 3427085"/>
              <a:gd name="connsiteX3" fmla="*/ 3414713 w 3414713"/>
              <a:gd name="connsiteY3" fmla="*/ 1713543 h 3427085"/>
              <a:gd name="connsiteX4" fmla="*/ 3414712 w 3414713"/>
              <a:gd name="connsiteY4" fmla="*/ 1713543 h 3427085"/>
              <a:gd name="connsiteX5" fmla="*/ 3320564 w 3414713"/>
              <a:gd name="connsiteY5" fmla="*/ 3420106 h 3427085"/>
              <a:gd name="connsiteX6" fmla="*/ 1636762 w 3414713"/>
              <a:gd name="connsiteY6" fmla="*/ 3427085 h 3427085"/>
              <a:gd name="connsiteX7" fmla="*/ 0 w 3414713"/>
              <a:gd name="connsiteY7" fmla="*/ 1713542 h 3427085"/>
              <a:gd name="connsiteX8" fmla="*/ 0 w 3414713"/>
              <a:gd name="connsiteY8" fmla="*/ 1713543 h 3427085"/>
              <a:gd name="connsiteX0" fmla="*/ 0 w 3414713"/>
              <a:gd name="connsiteY0" fmla="*/ 1713543 h 3427085"/>
              <a:gd name="connsiteX1" fmla="*/ 1706563 w 3414713"/>
              <a:gd name="connsiteY1" fmla="*/ 6980 h 3427085"/>
              <a:gd name="connsiteX2" fmla="*/ 3320564 w 3414713"/>
              <a:gd name="connsiteY2" fmla="*/ 0 h 3427085"/>
              <a:gd name="connsiteX3" fmla="*/ 3414713 w 3414713"/>
              <a:gd name="connsiteY3" fmla="*/ 1713543 h 3427085"/>
              <a:gd name="connsiteX4" fmla="*/ 3343275 w 3414713"/>
              <a:gd name="connsiteY4" fmla="*/ 1742118 h 3427085"/>
              <a:gd name="connsiteX5" fmla="*/ 3320564 w 3414713"/>
              <a:gd name="connsiteY5" fmla="*/ 3420106 h 3427085"/>
              <a:gd name="connsiteX6" fmla="*/ 1636762 w 3414713"/>
              <a:gd name="connsiteY6" fmla="*/ 3427085 h 3427085"/>
              <a:gd name="connsiteX7" fmla="*/ 0 w 3414713"/>
              <a:gd name="connsiteY7" fmla="*/ 1713542 h 3427085"/>
              <a:gd name="connsiteX8" fmla="*/ 0 w 3414713"/>
              <a:gd name="connsiteY8" fmla="*/ 1713543 h 3427085"/>
              <a:gd name="connsiteX0" fmla="*/ 0 w 3343275"/>
              <a:gd name="connsiteY0" fmla="*/ 1713543 h 3427085"/>
              <a:gd name="connsiteX1" fmla="*/ 1706563 w 3343275"/>
              <a:gd name="connsiteY1" fmla="*/ 6980 h 3427085"/>
              <a:gd name="connsiteX2" fmla="*/ 3320564 w 3343275"/>
              <a:gd name="connsiteY2" fmla="*/ 0 h 3427085"/>
              <a:gd name="connsiteX3" fmla="*/ 3343275 w 3343275"/>
              <a:gd name="connsiteY3" fmla="*/ 1720687 h 3427085"/>
              <a:gd name="connsiteX4" fmla="*/ 3343275 w 3343275"/>
              <a:gd name="connsiteY4" fmla="*/ 1742118 h 3427085"/>
              <a:gd name="connsiteX5" fmla="*/ 3320564 w 3343275"/>
              <a:gd name="connsiteY5" fmla="*/ 3420106 h 3427085"/>
              <a:gd name="connsiteX6" fmla="*/ 1636762 w 3343275"/>
              <a:gd name="connsiteY6" fmla="*/ 3427085 h 3427085"/>
              <a:gd name="connsiteX7" fmla="*/ 0 w 3343275"/>
              <a:gd name="connsiteY7" fmla="*/ 1713542 h 3427085"/>
              <a:gd name="connsiteX8" fmla="*/ 0 w 3343275"/>
              <a:gd name="connsiteY8" fmla="*/ 1713543 h 3427085"/>
              <a:gd name="connsiteX0" fmla="*/ 0 w 3347062"/>
              <a:gd name="connsiteY0" fmla="*/ 1706563 h 3420105"/>
              <a:gd name="connsiteX1" fmla="*/ 1706563 w 3347062"/>
              <a:gd name="connsiteY1" fmla="*/ 0 h 3420105"/>
              <a:gd name="connsiteX2" fmla="*/ 3334852 w 3347062"/>
              <a:gd name="connsiteY2" fmla="*/ 7308 h 3420105"/>
              <a:gd name="connsiteX3" fmla="*/ 3343275 w 3347062"/>
              <a:gd name="connsiteY3" fmla="*/ 1713707 h 3420105"/>
              <a:gd name="connsiteX4" fmla="*/ 3343275 w 3347062"/>
              <a:gd name="connsiteY4" fmla="*/ 1735138 h 3420105"/>
              <a:gd name="connsiteX5" fmla="*/ 3320564 w 3347062"/>
              <a:gd name="connsiteY5" fmla="*/ 3413126 h 3420105"/>
              <a:gd name="connsiteX6" fmla="*/ 1636762 w 3347062"/>
              <a:gd name="connsiteY6" fmla="*/ 3420105 h 3420105"/>
              <a:gd name="connsiteX7" fmla="*/ 0 w 3347062"/>
              <a:gd name="connsiteY7" fmla="*/ 1706562 h 3420105"/>
              <a:gd name="connsiteX8" fmla="*/ 0 w 3347062"/>
              <a:gd name="connsiteY8" fmla="*/ 1706563 h 3420105"/>
              <a:gd name="connsiteX0" fmla="*/ 0 w 3347062"/>
              <a:gd name="connsiteY0" fmla="*/ 1706563 h 3420105"/>
              <a:gd name="connsiteX1" fmla="*/ 1706563 w 3347062"/>
              <a:gd name="connsiteY1" fmla="*/ 0 h 3420105"/>
              <a:gd name="connsiteX2" fmla="*/ 3334852 w 3347062"/>
              <a:gd name="connsiteY2" fmla="*/ 164 h 3420105"/>
              <a:gd name="connsiteX3" fmla="*/ 3343275 w 3347062"/>
              <a:gd name="connsiteY3" fmla="*/ 1713707 h 3420105"/>
              <a:gd name="connsiteX4" fmla="*/ 3343275 w 3347062"/>
              <a:gd name="connsiteY4" fmla="*/ 1735138 h 3420105"/>
              <a:gd name="connsiteX5" fmla="*/ 3320564 w 3347062"/>
              <a:gd name="connsiteY5" fmla="*/ 3413126 h 3420105"/>
              <a:gd name="connsiteX6" fmla="*/ 1636762 w 3347062"/>
              <a:gd name="connsiteY6" fmla="*/ 3420105 h 3420105"/>
              <a:gd name="connsiteX7" fmla="*/ 0 w 3347062"/>
              <a:gd name="connsiteY7" fmla="*/ 1706562 h 3420105"/>
              <a:gd name="connsiteX8" fmla="*/ 0 w 3347062"/>
              <a:gd name="connsiteY8" fmla="*/ 1706563 h 3420105"/>
              <a:gd name="connsiteX0" fmla="*/ 0 w 3347062"/>
              <a:gd name="connsiteY0" fmla="*/ 1706563 h 3428175"/>
              <a:gd name="connsiteX1" fmla="*/ 1706563 w 3347062"/>
              <a:gd name="connsiteY1" fmla="*/ 0 h 3428175"/>
              <a:gd name="connsiteX2" fmla="*/ 3334852 w 3347062"/>
              <a:gd name="connsiteY2" fmla="*/ 164 h 3428175"/>
              <a:gd name="connsiteX3" fmla="*/ 3343275 w 3347062"/>
              <a:gd name="connsiteY3" fmla="*/ 1713707 h 3428175"/>
              <a:gd name="connsiteX4" fmla="*/ 3343275 w 3347062"/>
              <a:gd name="connsiteY4" fmla="*/ 1735138 h 3428175"/>
              <a:gd name="connsiteX5" fmla="*/ 3327707 w 3347062"/>
              <a:gd name="connsiteY5" fmla="*/ 3427413 h 3428175"/>
              <a:gd name="connsiteX6" fmla="*/ 1636762 w 3347062"/>
              <a:gd name="connsiteY6" fmla="*/ 3420105 h 3428175"/>
              <a:gd name="connsiteX7" fmla="*/ 0 w 3347062"/>
              <a:gd name="connsiteY7" fmla="*/ 1706562 h 3428175"/>
              <a:gd name="connsiteX8" fmla="*/ 0 w 3347062"/>
              <a:gd name="connsiteY8" fmla="*/ 1706563 h 3428175"/>
              <a:gd name="connsiteX0" fmla="*/ 0 w 3343275"/>
              <a:gd name="connsiteY0" fmla="*/ 1706563 h 3428175"/>
              <a:gd name="connsiteX1" fmla="*/ 1706563 w 3343275"/>
              <a:gd name="connsiteY1" fmla="*/ 0 h 3428175"/>
              <a:gd name="connsiteX2" fmla="*/ 2919290 w 3343275"/>
              <a:gd name="connsiteY2" fmla="*/ 164 h 3428175"/>
              <a:gd name="connsiteX3" fmla="*/ 3343275 w 3343275"/>
              <a:gd name="connsiteY3" fmla="*/ 1713707 h 3428175"/>
              <a:gd name="connsiteX4" fmla="*/ 3343275 w 3343275"/>
              <a:gd name="connsiteY4" fmla="*/ 1735138 h 3428175"/>
              <a:gd name="connsiteX5" fmla="*/ 3327707 w 3343275"/>
              <a:gd name="connsiteY5" fmla="*/ 3427413 h 3428175"/>
              <a:gd name="connsiteX6" fmla="*/ 1636762 w 3343275"/>
              <a:gd name="connsiteY6" fmla="*/ 3420105 h 3428175"/>
              <a:gd name="connsiteX7" fmla="*/ 0 w 3343275"/>
              <a:gd name="connsiteY7" fmla="*/ 1706562 h 3428175"/>
              <a:gd name="connsiteX8" fmla="*/ 0 w 3343275"/>
              <a:gd name="connsiteY8" fmla="*/ 1706563 h 3428175"/>
              <a:gd name="connsiteX0" fmla="*/ 0 w 3343275"/>
              <a:gd name="connsiteY0" fmla="*/ 1706563 h 3428175"/>
              <a:gd name="connsiteX1" fmla="*/ 1706563 w 3343275"/>
              <a:gd name="connsiteY1" fmla="*/ 0 h 3428175"/>
              <a:gd name="connsiteX2" fmla="*/ 2919290 w 3343275"/>
              <a:gd name="connsiteY2" fmla="*/ 164 h 3428175"/>
              <a:gd name="connsiteX3" fmla="*/ 3343275 w 3343275"/>
              <a:gd name="connsiteY3" fmla="*/ 1713707 h 3428175"/>
              <a:gd name="connsiteX4" fmla="*/ 3343275 w 3343275"/>
              <a:gd name="connsiteY4" fmla="*/ 1735138 h 3428175"/>
              <a:gd name="connsiteX5" fmla="*/ 3327707 w 3343275"/>
              <a:gd name="connsiteY5" fmla="*/ 3427413 h 3428175"/>
              <a:gd name="connsiteX6" fmla="*/ 1636762 w 3343275"/>
              <a:gd name="connsiteY6" fmla="*/ 3420105 h 3428175"/>
              <a:gd name="connsiteX7" fmla="*/ 0 w 3343275"/>
              <a:gd name="connsiteY7" fmla="*/ 1706562 h 3428175"/>
              <a:gd name="connsiteX8" fmla="*/ 0 w 3343275"/>
              <a:gd name="connsiteY8" fmla="*/ 1706563 h 3428175"/>
              <a:gd name="connsiteX0" fmla="*/ 0 w 3343275"/>
              <a:gd name="connsiteY0" fmla="*/ 1706563 h 3428175"/>
              <a:gd name="connsiteX1" fmla="*/ 1706563 w 3343275"/>
              <a:gd name="connsiteY1" fmla="*/ 0 h 3428175"/>
              <a:gd name="connsiteX2" fmla="*/ 2919290 w 3343275"/>
              <a:gd name="connsiteY2" fmla="*/ 164 h 3428175"/>
              <a:gd name="connsiteX3" fmla="*/ 2917324 w 3343275"/>
              <a:gd name="connsiteY3" fmla="*/ 1744875 h 3428175"/>
              <a:gd name="connsiteX4" fmla="*/ 3343275 w 3343275"/>
              <a:gd name="connsiteY4" fmla="*/ 1735138 h 3428175"/>
              <a:gd name="connsiteX5" fmla="*/ 3327707 w 3343275"/>
              <a:gd name="connsiteY5" fmla="*/ 3427413 h 3428175"/>
              <a:gd name="connsiteX6" fmla="*/ 1636762 w 3343275"/>
              <a:gd name="connsiteY6" fmla="*/ 3420105 h 3428175"/>
              <a:gd name="connsiteX7" fmla="*/ 0 w 3343275"/>
              <a:gd name="connsiteY7" fmla="*/ 1706562 h 3428175"/>
              <a:gd name="connsiteX8" fmla="*/ 0 w 3343275"/>
              <a:gd name="connsiteY8" fmla="*/ 1706563 h 3428175"/>
              <a:gd name="connsiteX0" fmla="*/ 0 w 3328034"/>
              <a:gd name="connsiteY0" fmla="*/ 1706563 h 3428305"/>
              <a:gd name="connsiteX1" fmla="*/ 1706563 w 3328034"/>
              <a:gd name="connsiteY1" fmla="*/ 0 h 3428305"/>
              <a:gd name="connsiteX2" fmla="*/ 2919290 w 3328034"/>
              <a:gd name="connsiteY2" fmla="*/ 164 h 3428305"/>
              <a:gd name="connsiteX3" fmla="*/ 2917324 w 3328034"/>
              <a:gd name="connsiteY3" fmla="*/ 1744875 h 3428305"/>
              <a:gd name="connsiteX4" fmla="*/ 2913861 w 3328034"/>
              <a:gd name="connsiteY4" fmla="*/ 1852881 h 3428305"/>
              <a:gd name="connsiteX5" fmla="*/ 3327707 w 3328034"/>
              <a:gd name="connsiteY5" fmla="*/ 3427413 h 3428305"/>
              <a:gd name="connsiteX6" fmla="*/ 1636762 w 3328034"/>
              <a:gd name="connsiteY6" fmla="*/ 3420105 h 3428305"/>
              <a:gd name="connsiteX7" fmla="*/ 0 w 3328034"/>
              <a:gd name="connsiteY7" fmla="*/ 1706562 h 3428305"/>
              <a:gd name="connsiteX8" fmla="*/ 0 w 3328034"/>
              <a:gd name="connsiteY8" fmla="*/ 1706563 h 3428305"/>
              <a:gd name="connsiteX0" fmla="*/ 0 w 2919326"/>
              <a:gd name="connsiteY0" fmla="*/ 1706563 h 3421389"/>
              <a:gd name="connsiteX1" fmla="*/ 1706563 w 2919326"/>
              <a:gd name="connsiteY1" fmla="*/ 0 h 3421389"/>
              <a:gd name="connsiteX2" fmla="*/ 2919290 w 2919326"/>
              <a:gd name="connsiteY2" fmla="*/ 164 h 3421389"/>
              <a:gd name="connsiteX3" fmla="*/ 2917324 w 2919326"/>
              <a:gd name="connsiteY3" fmla="*/ 1744875 h 3421389"/>
              <a:gd name="connsiteX4" fmla="*/ 2913861 w 2919326"/>
              <a:gd name="connsiteY4" fmla="*/ 1852881 h 3421389"/>
              <a:gd name="connsiteX5" fmla="*/ 2908682 w 2919326"/>
              <a:gd name="connsiteY5" fmla="*/ 3420488 h 3421389"/>
              <a:gd name="connsiteX6" fmla="*/ 1636762 w 2919326"/>
              <a:gd name="connsiteY6" fmla="*/ 3420105 h 3421389"/>
              <a:gd name="connsiteX7" fmla="*/ 0 w 2919326"/>
              <a:gd name="connsiteY7" fmla="*/ 1706562 h 3421389"/>
              <a:gd name="connsiteX8" fmla="*/ 0 w 2919326"/>
              <a:gd name="connsiteY8" fmla="*/ 1706563 h 3421389"/>
              <a:gd name="connsiteX0" fmla="*/ 0 w 11497288"/>
              <a:gd name="connsiteY0" fmla="*/ 1706563 h 3421389"/>
              <a:gd name="connsiteX1" fmla="*/ 1706563 w 11497288"/>
              <a:gd name="connsiteY1" fmla="*/ 0 h 3421389"/>
              <a:gd name="connsiteX2" fmla="*/ 11497288 w 11497288"/>
              <a:gd name="connsiteY2" fmla="*/ 6453 h 3421389"/>
              <a:gd name="connsiteX3" fmla="*/ 2917324 w 11497288"/>
              <a:gd name="connsiteY3" fmla="*/ 1744875 h 3421389"/>
              <a:gd name="connsiteX4" fmla="*/ 2913861 w 11497288"/>
              <a:gd name="connsiteY4" fmla="*/ 1852881 h 3421389"/>
              <a:gd name="connsiteX5" fmla="*/ 2908682 w 11497288"/>
              <a:gd name="connsiteY5" fmla="*/ 3420488 h 3421389"/>
              <a:gd name="connsiteX6" fmla="*/ 1636762 w 11497288"/>
              <a:gd name="connsiteY6" fmla="*/ 3420105 h 3421389"/>
              <a:gd name="connsiteX7" fmla="*/ 0 w 11497288"/>
              <a:gd name="connsiteY7" fmla="*/ 1706562 h 3421389"/>
              <a:gd name="connsiteX8" fmla="*/ 0 w 11497288"/>
              <a:gd name="connsiteY8" fmla="*/ 1706563 h 3421389"/>
              <a:gd name="connsiteX0" fmla="*/ 0 w 11497288"/>
              <a:gd name="connsiteY0" fmla="*/ 1706563 h 3427670"/>
              <a:gd name="connsiteX1" fmla="*/ 1706563 w 11497288"/>
              <a:gd name="connsiteY1" fmla="*/ 0 h 3427670"/>
              <a:gd name="connsiteX2" fmla="*/ 11497288 w 11497288"/>
              <a:gd name="connsiteY2" fmla="*/ 6453 h 3427670"/>
              <a:gd name="connsiteX3" fmla="*/ 2917324 w 11497288"/>
              <a:gd name="connsiteY3" fmla="*/ 1744875 h 3427670"/>
              <a:gd name="connsiteX4" fmla="*/ 2913861 w 11497288"/>
              <a:gd name="connsiteY4" fmla="*/ 1852881 h 3427670"/>
              <a:gd name="connsiteX5" fmla="*/ 11467813 w 11497288"/>
              <a:gd name="connsiteY5" fmla="*/ 3426777 h 3427670"/>
              <a:gd name="connsiteX6" fmla="*/ 1636762 w 11497288"/>
              <a:gd name="connsiteY6" fmla="*/ 3420105 h 3427670"/>
              <a:gd name="connsiteX7" fmla="*/ 0 w 11497288"/>
              <a:gd name="connsiteY7" fmla="*/ 1706562 h 3427670"/>
              <a:gd name="connsiteX8" fmla="*/ 0 w 11497288"/>
              <a:gd name="connsiteY8" fmla="*/ 1706563 h 3427670"/>
              <a:gd name="connsiteX0" fmla="*/ 0 w 11497324"/>
              <a:gd name="connsiteY0" fmla="*/ 1706563 h 3427670"/>
              <a:gd name="connsiteX1" fmla="*/ 1706563 w 11497324"/>
              <a:gd name="connsiteY1" fmla="*/ 0 h 3427670"/>
              <a:gd name="connsiteX2" fmla="*/ 11497288 w 11497324"/>
              <a:gd name="connsiteY2" fmla="*/ 6453 h 3427670"/>
              <a:gd name="connsiteX3" fmla="*/ 11495321 w 11497324"/>
              <a:gd name="connsiteY3" fmla="*/ 1801475 h 3427670"/>
              <a:gd name="connsiteX4" fmla="*/ 2913861 w 11497324"/>
              <a:gd name="connsiteY4" fmla="*/ 1852881 h 3427670"/>
              <a:gd name="connsiteX5" fmla="*/ 11467813 w 11497324"/>
              <a:gd name="connsiteY5" fmla="*/ 3426777 h 3427670"/>
              <a:gd name="connsiteX6" fmla="*/ 1636762 w 11497324"/>
              <a:gd name="connsiteY6" fmla="*/ 3420105 h 3427670"/>
              <a:gd name="connsiteX7" fmla="*/ 0 w 11497324"/>
              <a:gd name="connsiteY7" fmla="*/ 1706562 h 3427670"/>
              <a:gd name="connsiteX8" fmla="*/ 0 w 11497324"/>
              <a:gd name="connsiteY8" fmla="*/ 1706563 h 3427670"/>
              <a:gd name="connsiteX0" fmla="*/ 0 w 11498148"/>
              <a:gd name="connsiteY0" fmla="*/ 1706563 h 3427832"/>
              <a:gd name="connsiteX1" fmla="*/ 1706563 w 11498148"/>
              <a:gd name="connsiteY1" fmla="*/ 0 h 3427832"/>
              <a:gd name="connsiteX2" fmla="*/ 11497288 w 11498148"/>
              <a:gd name="connsiteY2" fmla="*/ 6453 h 3427832"/>
              <a:gd name="connsiteX3" fmla="*/ 11495321 w 11498148"/>
              <a:gd name="connsiteY3" fmla="*/ 1801475 h 3427832"/>
              <a:gd name="connsiteX4" fmla="*/ 11498148 w 11498148"/>
              <a:gd name="connsiteY4" fmla="*/ 1959792 h 3427832"/>
              <a:gd name="connsiteX5" fmla="*/ 11467813 w 11498148"/>
              <a:gd name="connsiteY5" fmla="*/ 3426777 h 3427832"/>
              <a:gd name="connsiteX6" fmla="*/ 1636762 w 11498148"/>
              <a:gd name="connsiteY6" fmla="*/ 3420105 h 3427832"/>
              <a:gd name="connsiteX7" fmla="*/ 0 w 11498148"/>
              <a:gd name="connsiteY7" fmla="*/ 1706562 h 3427832"/>
              <a:gd name="connsiteX8" fmla="*/ 0 w 11498148"/>
              <a:gd name="connsiteY8" fmla="*/ 1706563 h 3427832"/>
              <a:gd name="connsiteX0" fmla="*/ 0 w 11498148"/>
              <a:gd name="connsiteY0" fmla="*/ 1706563 h 3427832"/>
              <a:gd name="connsiteX1" fmla="*/ 1706563 w 11498148"/>
              <a:gd name="connsiteY1" fmla="*/ 0 h 3427832"/>
              <a:gd name="connsiteX2" fmla="*/ 11497288 w 11498148"/>
              <a:gd name="connsiteY2" fmla="*/ 6453 h 3427832"/>
              <a:gd name="connsiteX3" fmla="*/ 11495321 w 11498148"/>
              <a:gd name="connsiteY3" fmla="*/ 1801475 h 3427832"/>
              <a:gd name="connsiteX4" fmla="*/ 11498148 w 11498148"/>
              <a:gd name="connsiteY4" fmla="*/ 1959792 h 3427832"/>
              <a:gd name="connsiteX5" fmla="*/ 11467813 w 11498148"/>
              <a:gd name="connsiteY5" fmla="*/ 3426777 h 3427832"/>
              <a:gd name="connsiteX6" fmla="*/ 1636762 w 11498148"/>
              <a:gd name="connsiteY6" fmla="*/ 3420105 h 3427832"/>
              <a:gd name="connsiteX7" fmla="*/ 0 w 11498148"/>
              <a:gd name="connsiteY7" fmla="*/ 1706562 h 3427832"/>
              <a:gd name="connsiteX8" fmla="*/ 0 w 11498148"/>
              <a:gd name="connsiteY8" fmla="*/ 1706563 h 3427832"/>
              <a:gd name="connsiteX0" fmla="*/ 0 w 11498148"/>
              <a:gd name="connsiteY0" fmla="*/ 1706563 h 3427832"/>
              <a:gd name="connsiteX1" fmla="*/ 1706563 w 11498148"/>
              <a:gd name="connsiteY1" fmla="*/ 0 h 3427832"/>
              <a:gd name="connsiteX2" fmla="*/ 11497288 w 11498148"/>
              <a:gd name="connsiteY2" fmla="*/ 6453 h 3427832"/>
              <a:gd name="connsiteX3" fmla="*/ 11495321 w 11498148"/>
              <a:gd name="connsiteY3" fmla="*/ 1801475 h 3427832"/>
              <a:gd name="connsiteX4" fmla="*/ 11498148 w 11498148"/>
              <a:gd name="connsiteY4" fmla="*/ 1959792 h 3427832"/>
              <a:gd name="connsiteX5" fmla="*/ 11467813 w 11498148"/>
              <a:gd name="connsiteY5" fmla="*/ 3426777 h 3427832"/>
              <a:gd name="connsiteX6" fmla="*/ 1636762 w 11498148"/>
              <a:gd name="connsiteY6" fmla="*/ 3420105 h 3427832"/>
              <a:gd name="connsiteX7" fmla="*/ 0 w 11498148"/>
              <a:gd name="connsiteY7" fmla="*/ 1706562 h 3427832"/>
              <a:gd name="connsiteX8" fmla="*/ 0 w 11498148"/>
              <a:gd name="connsiteY8" fmla="*/ 1706563 h 3427832"/>
              <a:gd name="connsiteX0" fmla="*/ 0 w 12223908"/>
              <a:gd name="connsiteY0" fmla="*/ 1706563 h 3427832"/>
              <a:gd name="connsiteX1" fmla="*/ 1706563 w 12223908"/>
              <a:gd name="connsiteY1" fmla="*/ 0 h 3427832"/>
              <a:gd name="connsiteX2" fmla="*/ 11497288 w 12223908"/>
              <a:gd name="connsiteY2" fmla="*/ 6453 h 3427832"/>
              <a:gd name="connsiteX3" fmla="*/ 11498148 w 12223908"/>
              <a:gd name="connsiteY3" fmla="*/ 1959792 h 3427832"/>
              <a:gd name="connsiteX4" fmla="*/ 11467813 w 12223908"/>
              <a:gd name="connsiteY4" fmla="*/ 3426777 h 3427832"/>
              <a:gd name="connsiteX5" fmla="*/ 1636762 w 12223908"/>
              <a:gd name="connsiteY5" fmla="*/ 3420105 h 3427832"/>
              <a:gd name="connsiteX6" fmla="*/ 0 w 12223908"/>
              <a:gd name="connsiteY6" fmla="*/ 1706562 h 3427832"/>
              <a:gd name="connsiteX7" fmla="*/ 0 w 12223908"/>
              <a:gd name="connsiteY7" fmla="*/ 1706563 h 3427832"/>
              <a:gd name="connsiteX0" fmla="*/ 0 w 11500210"/>
              <a:gd name="connsiteY0" fmla="*/ 1706563 h 3427832"/>
              <a:gd name="connsiteX1" fmla="*/ 1706563 w 11500210"/>
              <a:gd name="connsiteY1" fmla="*/ 0 h 3427832"/>
              <a:gd name="connsiteX2" fmla="*/ 11497288 w 11500210"/>
              <a:gd name="connsiteY2" fmla="*/ 6453 h 3427832"/>
              <a:gd name="connsiteX3" fmla="*/ 11498148 w 11500210"/>
              <a:gd name="connsiteY3" fmla="*/ 1959792 h 3427832"/>
              <a:gd name="connsiteX4" fmla="*/ 11467813 w 11500210"/>
              <a:gd name="connsiteY4" fmla="*/ 3426777 h 3427832"/>
              <a:gd name="connsiteX5" fmla="*/ 1636762 w 11500210"/>
              <a:gd name="connsiteY5" fmla="*/ 3420105 h 3427832"/>
              <a:gd name="connsiteX6" fmla="*/ 0 w 11500210"/>
              <a:gd name="connsiteY6" fmla="*/ 1706562 h 3427832"/>
              <a:gd name="connsiteX7" fmla="*/ 0 w 11500210"/>
              <a:gd name="connsiteY7" fmla="*/ 1706563 h 3427832"/>
              <a:gd name="connsiteX0" fmla="*/ 0 w 11500212"/>
              <a:gd name="connsiteY0" fmla="*/ 1706563 h 3427832"/>
              <a:gd name="connsiteX1" fmla="*/ 1706563 w 11500212"/>
              <a:gd name="connsiteY1" fmla="*/ 0 h 3427832"/>
              <a:gd name="connsiteX2" fmla="*/ 11497288 w 11500212"/>
              <a:gd name="connsiteY2" fmla="*/ 6453 h 3427832"/>
              <a:gd name="connsiteX3" fmla="*/ 11498148 w 11500212"/>
              <a:gd name="connsiteY3" fmla="*/ 1959792 h 3427832"/>
              <a:gd name="connsiteX4" fmla="*/ 11467813 w 11500212"/>
              <a:gd name="connsiteY4" fmla="*/ 3426777 h 3427832"/>
              <a:gd name="connsiteX5" fmla="*/ 1636762 w 11500212"/>
              <a:gd name="connsiteY5" fmla="*/ 3420105 h 3427832"/>
              <a:gd name="connsiteX6" fmla="*/ 0 w 11500212"/>
              <a:gd name="connsiteY6" fmla="*/ 1706562 h 3427832"/>
              <a:gd name="connsiteX7" fmla="*/ 0 w 11500212"/>
              <a:gd name="connsiteY7" fmla="*/ 1706563 h 3427832"/>
              <a:gd name="connsiteX0" fmla="*/ 0 w 11499747"/>
              <a:gd name="connsiteY0" fmla="*/ 1706563 h 3427422"/>
              <a:gd name="connsiteX1" fmla="*/ 1706563 w 11499747"/>
              <a:gd name="connsiteY1" fmla="*/ 0 h 3427422"/>
              <a:gd name="connsiteX2" fmla="*/ 11497288 w 11499747"/>
              <a:gd name="connsiteY2" fmla="*/ 6453 h 3427422"/>
              <a:gd name="connsiteX3" fmla="*/ 11498148 w 11499747"/>
              <a:gd name="connsiteY3" fmla="*/ 1959792 h 3427422"/>
              <a:gd name="connsiteX4" fmla="*/ 11474102 w 11499747"/>
              <a:gd name="connsiteY4" fmla="*/ 3426776 h 3427422"/>
              <a:gd name="connsiteX5" fmla="*/ 1636762 w 11499747"/>
              <a:gd name="connsiteY5" fmla="*/ 3420105 h 3427422"/>
              <a:gd name="connsiteX6" fmla="*/ 0 w 11499747"/>
              <a:gd name="connsiteY6" fmla="*/ 1706562 h 3427422"/>
              <a:gd name="connsiteX7" fmla="*/ 0 w 11499747"/>
              <a:gd name="connsiteY7" fmla="*/ 1706563 h 3427422"/>
              <a:gd name="connsiteX0" fmla="*/ 0 w 12712476"/>
              <a:gd name="connsiteY0" fmla="*/ 1706563 h 3426776"/>
              <a:gd name="connsiteX1" fmla="*/ 1706563 w 12712476"/>
              <a:gd name="connsiteY1" fmla="*/ 0 h 3426776"/>
              <a:gd name="connsiteX2" fmla="*/ 11497288 w 12712476"/>
              <a:gd name="connsiteY2" fmla="*/ 6453 h 3426776"/>
              <a:gd name="connsiteX3" fmla="*/ 11474102 w 12712476"/>
              <a:gd name="connsiteY3" fmla="*/ 3426776 h 3426776"/>
              <a:gd name="connsiteX4" fmla="*/ 1636762 w 12712476"/>
              <a:gd name="connsiteY4" fmla="*/ 3420105 h 3426776"/>
              <a:gd name="connsiteX5" fmla="*/ 0 w 12712476"/>
              <a:gd name="connsiteY5" fmla="*/ 1706562 h 3426776"/>
              <a:gd name="connsiteX6" fmla="*/ 0 w 12712476"/>
              <a:gd name="connsiteY6" fmla="*/ 1706563 h 3426776"/>
              <a:gd name="connsiteX0" fmla="*/ 0 w 12217394"/>
              <a:gd name="connsiteY0" fmla="*/ 1706563 h 3426776"/>
              <a:gd name="connsiteX1" fmla="*/ 1706563 w 12217394"/>
              <a:gd name="connsiteY1" fmla="*/ 0 h 3426776"/>
              <a:gd name="connsiteX2" fmla="*/ 11497288 w 12217394"/>
              <a:gd name="connsiteY2" fmla="*/ 6453 h 3426776"/>
              <a:gd name="connsiteX3" fmla="*/ 11474102 w 12217394"/>
              <a:gd name="connsiteY3" fmla="*/ 3426776 h 3426776"/>
              <a:gd name="connsiteX4" fmla="*/ 1636762 w 12217394"/>
              <a:gd name="connsiteY4" fmla="*/ 3420105 h 3426776"/>
              <a:gd name="connsiteX5" fmla="*/ 0 w 12217394"/>
              <a:gd name="connsiteY5" fmla="*/ 1706562 h 3426776"/>
              <a:gd name="connsiteX6" fmla="*/ 0 w 12217394"/>
              <a:gd name="connsiteY6" fmla="*/ 1706563 h 3426776"/>
              <a:gd name="connsiteX0" fmla="*/ 0 w 11497287"/>
              <a:gd name="connsiteY0" fmla="*/ 1706563 h 3426776"/>
              <a:gd name="connsiteX1" fmla="*/ 1706563 w 11497287"/>
              <a:gd name="connsiteY1" fmla="*/ 0 h 3426776"/>
              <a:gd name="connsiteX2" fmla="*/ 11497288 w 11497287"/>
              <a:gd name="connsiteY2" fmla="*/ 6453 h 3426776"/>
              <a:gd name="connsiteX3" fmla="*/ 11474102 w 11497287"/>
              <a:gd name="connsiteY3" fmla="*/ 3426776 h 3426776"/>
              <a:gd name="connsiteX4" fmla="*/ 1636762 w 11497287"/>
              <a:gd name="connsiteY4" fmla="*/ 3420105 h 3426776"/>
              <a:gd name="connsiteX5" fmla="*/ 0 w 11497287"/>
              <a:gd name="connsiteY5" fmla="*/ 1706562 h 3426776"/>
              <a:gd name="connsiteX6" fmla="*/ 0 w 11497287"/>
              <a:gd name="connsiteY6" fmla="*/ 1706563 h 3426776"/>
              <a:gd name="connsiteX0" fmla="*/ 0 w 11497289"/>
              <a:gd name="connsiteY0" fmla="*/ 1706563 h 3420487"/>
              <a:gd name="connsiteX1" fmla="*/ 1706563 w 11497289"/>
              <a:gd name="connsiteY1" fmla="*/ 0 h 3420487"/>
              <a:gd name="connsiteX2" fmla="*/ 11497288 w 11497289"/>
              <a:gd name="connsiteY2" fmla="*/ 6453 h 3420487"/>
              <a:gd name="connsiteX3" fmla="*/ 11480391 w 11497289"/>
              <a:gd name="connsiteY3" fmla="*/ 3420487 h 3420487"/>
              <a:gd name="connsiteX4" fmla="*/ 1636762 w 11497289"/>
              <a:gd name="connsiteY4" fmla="*/ 3420105 h 3420487"/>
              <a:gd name="connsiteX5" fmla="*/ 0 w 11497289"/>
              <a:gd name="connsiteY5" fmla="*/ 1706562 h 3420487"/>
              <a:gd name="connsiteX6" fmla="*/ 0 w 11497289"/>
              <a:gd name="connsiteY6" fmla="*/ 1706563 h 34204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497289" h="3420487">
                <a:moveTo>
                  <a:pt x="0" y="1706563"/>
                </a:moveTo>
                <a:cubicBezTo>
                  <a:pt x="0" y="764054"/>
                  <a:pt x="764054" y="0"/>
                  <a:pt x="1706563" y="0"/>
                </a:cubicBezTo>
                <a:lnTo>
                  <a:pt x="11497288" y="6453"/>
                </a:lnTo>
                <a:cubicBezTo>
                  <a:pt x="11491656" y="1144464"/>
                  <a:pt x="11486023" y="2282476"/>
                  <a:pt x="11480391" y="3420487"/>
                </a:cubicBezTo>
                <a:lnTo>
                  <a:pt x="1636762" y="3420105"/>
                </a:lnTo>
                <a:cubicBezTo>
                  <a:pt x="694253" y="3420105"/>
                  <a:pt x="0" y="2649071"/>
                  <a:pt x="0" y="1706562"/>
                </a:cubicBezTo>
                <a:lnTo>
                  <a:pt x="0" y="1706563"/>
                </a:lnTo>
                <a:close/>
              </a:path>
            </a:pathLst>
          </a:custGeom>
          <a:solidFill>
            <a:schemeClr val="accent6"/>
          </a:solidFill>
        </p:spPr>
        <p:txBody>
          <a:bodyPr vert="horz" lIns="0" tIns="0" rIns="0" bIns="0" rtlCol="0" anchor="ctr">
            <a:noAutofit/>
          </a:bodyPr>
          <a:lstStyle>
            <a:lvl1pPr>
              <a:defRPr lang="fr-FR" sz="1333" b="0"/>
            </a:lvl1pPr>
          </a:lstStyle>
          <a:p>
            <a:pPr lvl="0" algn="ctr">
              <a:spcBef>
                <a:spcPts val="0"/>
              </a:spcBef>
            </a:pPr>
            <a:r>
              <a:rPr lang="fr-FR" dirty="0"/>
              <a:t>Cliquez sur l'icône pour ajouter une image</a:t>
            </a:r>
          </a:p>
        </p:txBody>
      </p:sp>
      <p:grpSp>
        <p:nvGrpSpPr>
          <p:cNvPr id="26" name="Groupe 13">
            <a:extLst>
              <a:ext uri="{FF2B5EF4-FFF2-40B4-BE49-F238E27FC236}">
                <a16:creationId xmlns="" xmlns:a16="http://schemas.microsoft.com/office/drawing/2014/main" id="{DE09B937-F86D-7E4A-8B3F-293E21C09525}"/>
              </a:ext>
            </a:extLst>
          </p:cNvPr>
          <p:cNvGrpSpPr/>
          <p:nvPr/>
        </p:nvGrpSpPr>
        <p:grpSpPr>
          <a:xfrm>
            <a:off x="11485569" y="6208431"/>
            <a:ext cx="408776" cy="405060"/>
            <a:chOff x="4763" y="1558926"/>
            <a:chExt cx="2095500" cy="2076450"/>
          </a:xfrm>
          <a:solidFill>
            <a:schemeClr val="accent2"/>
          </a:solidFill>
        </p:grpSpPr>
        <p:sp>
          <p:nvSpPr>
            <p:cNvPr id="27" name="Freeform 11">
              <a:extLst>
                <a:ext uri="{FF2B5EF4-FFF2-40B4-BE49-F238E27FC236}">
                  <a16:creationId xmlns="" xmlns:a16="http://schemas.microsoft.com/office/drawing/2014/main" id="{1BD319B6-B6A8-E84F-B449-126BB010F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1808164"/>
              <a:ext cx="663575" cy="841375"/>
            </a:xfrm>
            <a:custGeom>
              <a:avLst/>
              <a:gdLst>
                <a:gd name="T0" fmla="*/ 302 w 302"/>
                <a:gd name="T1" fmla="*/ 151 h 383"/>
                <a:gd name="T2" fmla="*/ 151 w 302"/>
                <a:gd name="T3" fmla="*/ 0 h 383"/>
                <a:gd name="T4" fmla="*/ 0 w 302"/>
                <a:gd name="T5" fmla="*/ 151 h 383"/>
                <a:gd name="T6" fmla="*/ 0 w 302"/>
                <a:gd name="T7" fmla="*/ 232 h 383"/>
                <a:gd name="T8" fmla="*/ 151 w 302"/>
                <a:gd name="T9" fmla="*/ 383 h 383"/>
                <a:gd name="T10" fmla="*/ 302 w 302"/>
                <a:gd name="T11" fmla="*/ 232 h 383"/>
                <a:gd name="T12" fmla="*/ 302 w 302"/>
                <a:gd name="T13" fmla="*/ 1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383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218"/>
                    <a:pt x="0" y="232"/>
                  </a:cubicBezTo>
                  <a:cubicBezTo>
                    <a:pt x="0" y="315"/>
                    <a:pt x="67" y="383"/>
                    <a:pt x="151" y="383"/>
                  </a:cubicBezTo>
                  <a:cubicBezTo>
                    <a:pt x="234" y="383"/>
                    <a:pt x="302" y="315"/>
                    <a:pt x="302" y="232"/>
                  </a:cubicBezTo>
                  <a:cubicBezTo>
                    <a:pt x="302" y="218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8" name="Freeform 12">
              <a:extLst>
                <a:ext uri="{FF2B5EF4-FFF2-40B4-BE49-F238E27FC236}">
                  <a16:creationId xmlns="" xmlns:a16="http://schemas.microsoft.com/office/drawing/2014/main" id="{2BED74D2-1BC3-AB4A-9703-B60958516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9" name="Freeform 13">
              <a:extLst>
                <a:ext uri="{FF2B5EF4-FFF2-40B4-BE49-F238E27FC236}">
                  <a16:creationId xmlns="" xmlns:a16="http://schemas.microsoft.com/office/drawing/2014/main" id="{0952E9AE-1611-1A43-B141-B75FB7F17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75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</p:grpSp>
      <p:sp>
        <p:nvSpPr>
          <p:cNvPr id="30" name="ZoneTexte 29"/>
          <p:cNvSpPr txBox="1"/>
          <p:nvPr/>
        </p:nvSpPr>
        <p:spPr>
          <a:xfrm>
            <a:off x="10261600" y="6443350"/>
            <a:ext cx="1195757" cy="205807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48000" rIns="48000" bIns="48000" rtlCol="0">
            <a:noAutofit/>
          </a:bodyPr>
          <a:lstStyle/>
          <a:p>
            <a:pPr>
              <a:spcBef>
                <a:spcPts val="800"/>
              </a:spcBef>
            </a:pPr>
            <a:r>
              <a:rPr lang="fr-FR" sz="933" dirty="0">
                <a:solidFill>
                  <a:srgbClr val="323748"/>
                </a:solidFill>
              </a:rPr>
              <a:t>Confidentiel © PMP</a:t>
            </a:r>
          </a:p>
        </p:txBody>
      </p:sp>
      <p:sp>
        <p:nvSpPr>
          <p:cNvPr id="23" name="Délai  3">
            <a:extLst>
              <a:ext uri="{FF2B5EF4-FFF2-40B4-BE49-F238E27FC236}">
                <a16:creationId xmlns="" xmlns:a16="http://schemas.microsoft.com/office/drawing/2014/main" id="{DFCFBEBD-4C9B-4867-B76B-58F5FCE44C76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44574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 Client 6 photos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CE896FB-2454-F146-A7A0-E9221EFAA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265" y="209821"/>
            <a:ext cx="10560820" cy="434871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="" xmlns:a16="http://schemas.microsoft.com/office/drawing/2014/main" id="{21AED706-8088-2D4B-B0CE-AECADFBD77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18" y="1151468"/>
            <a:ext cx="564685" cy="56303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="" xmlns:a16="http://schemas.microsoft.com/office/drawing/2014/main" id="{7EE18AFC-ED98-054E-A3DD-AB0B422E22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6360" y="1227668"/>
            <a:ext cx="486833" cy="48683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="" xmlns:a16="http://schemas.microsoft.com/office/drawing/2014/main" id="{72A51699-6EE5-F547-960F-5088B13F5CD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8967" y="1175052"/>
            <a:ext cx="539448" cy="539448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="" xmlns:a16="http://schemas.microsoft.com/office/drawing/2014/main" id="{FCE9B26A-E258-EA45-850F-30DD2968DCD0}"/>
              </a:ext>
            </a:extLst>
          </p:cNvPr>
          <p:cNvSpPr txBox="1"/>
          <p:nvPr/>
        </p:nvSpPr>
        <p:spPr>
          <a:xfrm>
            <a:off x="4542671" y="1350716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Travaux réalisé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="" xmlns:a16="http://schemas.microsoft.com/office/drawing/2014/main" id="{5336A190-3527-C849-82C5-DFDBF7687CE1}"/>
              </a:ext>
            </a:extLst>
          </p:cNvPr>
          <p:cNvSpPr txBox="1"/>
          <p:nvPr/>
        </p:nvSpPr>
        <p:spPr>
          <a:xfrm>
            <a:off x="1386807" y="1350716"/>
            <a:ext cx="2167875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Contexte et objectifs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="" xmlns:a16="http://schemas.microsoft.com/office/drawing/2014/main" id="{0728742F-E4F9-AD4A-9F68-42E5B4EF4169}"/>
              </a:ext>
            </a:extLst>
          </p:cNvPr>
          <p:cNvCxnSpPr>
            <a:cxnSpLocks/>
          </p:cNvCxnSpPr>
          <p:nvPr/>
        </p:nvCxnSpPr>
        <p:spPr>
          <a:xfrm>
            <a:off x="3966359" y="1783761"/>
            <a:ext cx="4647989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="" xmlns:a16="http://schemas.microsoft.com/office/drawing/2014/main" id="{B0E654E0-FEB1-184F-8F21-417B9795BE15}"/>
              </a:ext>
            </a:extLst>
          </p:cNvPr>
          <p:cNvCxnSpPr>
            <a:cxnSpLocks/>
          </p:cNvCxnSpPr>
          <p:nvPr/>
        </p:nvCxnSpPr>
        <p:spPr>
          <a:xfrm>
            <a:off x="814917" y="1783761"/>
            <a:ext cx="2739763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="" xmlns:a16="http://schemas.microsoft.com/office/drawing/2014/main" id="{74E99BE0-4DA7-4C41-B715-7E59A15EDE8F}"/>
              </a:ext>
            </a:extLst>
          </p:cNvPr>
          <p:cNvCxnSpPr>
            <a:cxnSpLocks/>
          </p:cNvCxnSpPr>
          <p:nvPr/>
        </p:nvCxnSpPr>
        <p:spPr>
          <a:xfrm>
            <a:off x="8966202" y="1783761"/>
            <a:ext cx="2751665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texte 20">
            <a:extLst>
              <a:ext uri="{FF2B5EF4-FFF2-40B4-BE49-F238E27FC236}">
                <a16:creationId xmlns="" xmlns:a16="http://schemas.microsoft.com/office/drawing/2014/main" id="{8880B046-DFA3-034D-9FEB-6DDF0BF582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4918" y="1924051"/>
            <a:ext cx="2628900" cy="2501900"/>
          </a:xfrm>
        </p:spPr>
        <p:txBody>
          <a:bodyPr/>
          <a:lstStyle>
            <a:lvl1pPr>
              <a:spcBef>
                <a:spcPts val="267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20">
            <a:extLst>
              <a:ext uri="{FF2B5EF4-FFF2-40B4-BE49-F238E27FC236}">
                <a16:creationId xmlns="" xmlns:a16="http://schemas.microsoft.com/office/drawing/2014/main" id="{12437E37-83BC-5F48-A859-72FA754935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66359" y="1924051"/>
            <a:ext cx="4647989" cy="2501900"/>
          </a:xfrm>
        </p:spPr>
        <p:txBody>
          <a:bodyPr/>
          <a:lstStyle>
            <a:lvl1pPr>
              <a:spcBef>
                <a:spcPts val="267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0">
            <a:extLst>
              <a:ext uri="{FF2B5EF4-FFF2-40B4-BE49-F238E27FC236}">
                <a16:creationId xmlns="" xmlns:a16="http://schemas.microsoft.com/office/drawing/2014/main" id="{B32A57D1-AB01-C04A-AE18-EB2BED5246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00975" y="1924051"/>
            <a:ext cx="2716892" cy="2501900"/>
          </a:xfrm>
        </p:spPr>
        <p:txBody>
          <a:bodyPr/>
          <a:lstStyle>
            <a:lvl1pPr>
              <a:spcBef>
                <a:spcPts val="267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pour une image  27">
            <a:extLst>
              <a:ext uri="{FF2B5EF4-FFF2-40B4-BE49-F238E27FC236}">
                <a16:creationId xmlns="" xmlns:a16="http://schemas.microsoft.com/office/drawing/2014/main" id="{E0131CA7-8C05-A145-A6A5-44246A21AEB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7234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9" name="Espace réservé pour une image  27">
            <a:extLst>
              <a:ext uri="{FF2B5EF4-FFF2-40B4-BE49-F238E27FC236}">
                <a16:creationId xmlns="" xmlns:a16="http://schemas.microsoft.com/office/drawing/2014/main" id="{D061E4DE-7DD2-F940-8135-88E5090030C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873114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0" name="Espace réservé pour une image  27">
            <a:extLst>
              <a:ext uri="{FF2B5EF4-FFF2-40B4-BE49-F238E27FC236}">
                <a16:creationId xmlns="" xmlns:a16="http://schemas.microsoft.com/office/drawing/2014/main" id="{404C7ADD-0F95-0544-A97B-69D2C754C8B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22745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1" name="Espace réservé pour une image  27">
            <a:extLst>
              <a:ext uri="{FF2B5EF4-FFF2-40B4-BE49-F238E27FC236}">
                <a16:creationId xmlns="" xmlns:a16="http://schemas.microsoft.com/office/drawing/2014/main" id="{F8ABEF32-7592-8D40-8034-C482E149944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56542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2" name="Espace réservé pour une image  27">
            <a:extLst>
              <a:ext uri="{FF2B5EF4-FFF2-40B4-BE49-F238E27FC236}">
                <a16:creationId xmlns="" xmlns:a16="http://schemas.microsoft.com/office/drawing/2014/main" id="{586C6D53-115A-DE46-A3D1-77D638C7652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06174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3" name="Espace réservé pour une image  27">
            <a:extLst>
              <a:ext uri="{FF2B5EF4-FFF2-40B4-BE49-F238E27FC236}">
                <a16:creationId xmlns="" xmlns:a16="http://schemas.microsoft.com/office/drawing/2014/main" id="{C175C3BA-59B3-D54F-83F8-0E022FEF243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24138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4" name="Espace réservé du texte 34">
            <a:extLst>
              <a:ext uri="{FF2B5EF4-FFF2-40B4-BE49-F238E27FC236}">
                <a16:creationId xmlns="" xmlns:a16="http://schemas.microsoft.com/office/drawing/2014/main" id="{85D53F31-6137-5F47-BF36-ACD3675DB5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33447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5" name="Espace réservé du texte 34">
            <a:extLst>
              <a:ext uri="{FF2B5EF4-FFF2-40B4-BE49-F238E27FC236}">
                <a16:creationId xmlns="" xmlns:a16="http://schemas.microsoft.com/office/drawing/2014/main" id="{E95EB13D-5106-D745-8BE8-4553053434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161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6" name="Espace réservé du texte 34">
            <a:extLst>
              <a:ext uri="{FF2B5EF4-FFF2-40B4-BE49-F238E27FC236}">
                <a16:creationId xmlns="" xmlns:a16="http://schemas.microsoft.com/office/drawing/2014/main" id="{62A6B062-5C4F-5948-9F63-B14CB888E6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24792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7" name="Espace réservé du texte 34">
            <a:extLst>
              <a:ext uri="{FF2B5EF4-FFF2-40B4-BE49-F238E27FC236}">
                <a16:creationId xmlns="" xmlns:a16="http://schemas.microsoft.com/office/drawing/2014/main" id="{46ADC10D-507F-6A49-82C5-ABBF055CF3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42756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8" name="Espace réservé du texte 34">
            <a:extLst>
              <a:ext uri="{FF2B5EF4-FFF2-40B4-BE49-F238E27FC236}">
                <a16:creationId xmlns="" xmlns:a16="http://schemas.microsoft.com/office/drawing/2014/main" id="{26D3C156-F3D8-D24B-B25C-CF39C04A88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76553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9" name="Espace réservé du texte 34">
            <a:extLst>
              <a:ext uri="{FF2B5EF4-FFF2-40B4-BE49-F238E27FC236}">
                <a16:creationId xmlns="" xmlns:a16="http://schemas.microsoft.com/office/drawing/2014/main" id="{D94260F9-79ED-6D45-A12F-D879FC2289D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802433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="" xmlns:a16="http://schemas.microsoft.com/office/drawing/2014/main" id="{720EB2E8-6A12-F248-B8E2-B564DF144B22}"/>
              </a:ext>
            </a:extLst>
          </p:cNvPr>
          <p:cNvSpPr txBox="1"/>
          <p:nvPr/>
        </p:nvSpPr>
        <p:spPr>
          <a:xfrm rot="16200000">
            <a:off x="289463" y="5490848"/>
            <a:ext cx="1267807" cy="20947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>
            <a:noAutofit/>
          </a:bodyPr>
          <a:lstStyle/>
          <a:p>
            <a:r>
              <a:rPr lang="fr-FR" sz="1200" b="1" dirty="0">
                <a:solidFill>
                  <a:srgbClr val="E9E4E3"/>
                </a:solidFill>
              </a:rPr>
              <a:t>ILLUSTRATIONS</a:t>
            </a:r>
          </a:p>
        </p:txBody>
      </p:sp>
      <p:sp>
        <p:nvSpPr>
          <p:cNvPr id="32" name="Espace réservé du texte 2">
            <a:extLst>
              <a:ext uri="{FF2B5EF4-FFF2-40B4-BE49-F238E27FC236}">
                <a16:creationId xmlns="" xmlns:a16="http://schemas.microsoft.com/office/drawing/2014/main" id="{E02067C1-0511-4D44-8531-F5FB197B53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6477" y="665764"/>
            <a:ext cx="10565703" cy="341584"/>
          </a:xfrm>
        </p:spPr>
        <p:txBody>
          <a:bodyPr/>
          <a:lstStyle>
            <a:lvl1pPr>
              <a:spcBef>
                <a:spcPts val="0"/>
              </a:spcBef>
              <a:defRPr lang="fr-FR" sz="1600" b="0" i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="" xmlns:a16="http://schemas.microsoft.com/office/drawing/2014/main" id="{FCE9B26A-E258-EA45-850F-30DD2968DCD0}"/>
              </a:ext>
            </a:extLst>
          </p:cNvPr>
          <p:cNvSpPr txBox="1"/>
          <p:nvPr/>
        </p:nvSpPr>
        <p:spPr>
          <a:xfrm>
            <a:off x="9606730" y="1350716"/>
            <a:ext cx="2228901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Résultats obtenus</a:t>
            </a:r>
          </a:p>
        </p:txBody>
      </p:sp>
      <p:sp>
        <p:nvSpPr>
          <p:cNvPr id="34" name="Délai  3">
            <a:extLst>
              <a:ext uri="{FF2B5EF4-FFF2-40B4-BE49-F238E27FC236}">
                <a16:creationId xmlns="" xmlns:a16="http://schemas.microsoft.com/office/drawing/2014/main" id="{813A1ACD-93CB-4E56-B3AF-12C636CB1C55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00388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as Client 6 photos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4A330889-1F58-4EEF-B6D9-84159B9362D3}"/>
              </a:ext>
            </a:extLst>
          </p:cNvPr>
          <p:cNvSpPr/>
          <p:nvPr/>
        </p:nvSpPr>
        <p:spPr>
          <a:xfrm flipV="1">
            <a:off x="0" y="0"/>
            <a:ext cx="12192000" cy="4690216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fr-FR" sz="2133" dirty="0">
              <a:solidFill>
                <a:srgbClr val="323748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4CE896FB-2454-F146-A7A0-E9221EFAA8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265" y="209821"/>
            <a:ext cx="10560820" cy="434871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7" name="Image 6">
            <a:extLst>
              <a:ext uri="{FF2B5EF4-FFF2-40B4-BE49-F238E27FC236}">
                <a16:creationId xmlns="" xmlns:a16="http://schemas.microsoft.com/office/drawing/2014/main" id="{21AED706-8088-2D4B-B0CE-AECADFBD772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18" y="1151468"/>
            <a:ext cx="564685" cy="563033"/>
          </a:xfrm>
          <a:prstGeom prst="rect">
            <a:avLst/>
          </a:prstGeom>
        </p:spPr>
      </p:pic>
      <p:pic>
        <p:nvPicPr>
          <p:cNvPr id="8" name="Image 7">
            <a:extLst>
              <a:ext uri="{FF2B5EF4-FFF2-40B4-BE49-F238E27FC236}">
                <a16:creationId xmlns="" xmlns:a16="http://schemas.microsoft.com/office/drawing/2014/main" id="{7EE18AFC-ED98-054E-A3DD-AB0B422E221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6360" y="1227668"/>
            <a:ext cx="486833" cy="486833"/>
          </a:xfrm>
          <a:prstGeom prst="rect">
            <a:avLst/>
          </a:prstGeom>
        </p:spPr>
      </p:pic>
      <p:pic>
        <p:nvPicPr>
          <p:cNvPr id="9" name="Image 8">
            <a:extLst>
              <a:ext uri="{FF2B5EF4-FFF2-40B4-BE49-F238E27FC236}">
                <a16:creationId xmlns="" xmlns:a16="http://schemas.microsoft.com/office/drawing/2014/main" id="{72A51699-6EE5-F547-960F-5088B13F5CD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78967" y="1175052"/>
            <a:ext cx="539448" cy="539448"/>
          </a:xfrm>
          <a:prstGeom prst="rect">
            <a:avLst/>
          </a:prstGeom>
        </p:spPr>
      </p:pic>
      <p:sp>
        <p:nvSpPr>
          <p:cNvPr id="10" name="ZoneTexte 9">
            <a:extLst>
              <a:ext uri="{FF2B5EF4-FFF2-40B4-BE49-F238E27FC236}">
                <a16:creationId xmlns="" xmlns:a16="http://schemas.microsoft.com/office/drawing/2014/main" id="{FCE9B26A-E258-EA45-850F-30DD2968DCD0}"/>
              </a:ext>
            </a:extLst>
          </p:cNvPr>
          <p:cNvSpPr txBox="1"/>
          <p:nvPr/>
        </p:nvSpPr>
        <p:spPr>
          <a:xfrm>
            <a:off x="4542671" y="1350716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Travaux réalisés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="" xmlns:a16="http://schemas.microsoft.com/office/drawing/2014/main" id="{5336A190-3527-C849-82C5-DFDBF7687CE1}"/>
              </a:ext>
            </a:extLst>
          </p:cNvPr>
          <p:cNvSpPr txBox="1"/>
          <p:nvPr/>
        </p:nvSpPr>
        <p:spPr>
          <a:xfrm>
            <a:off x="1386807" y="1350716"/>
            <a:ext cx="2167875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Contexte et objectifs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="" xmlns:a16="http://schemas.microsoft.com/office/drawing/2014/main" id="{0728742F-E4F9-AD4A-9F68-42E5B4EF4169}"/>
              </a:ext>
            </a:extLst>
          </p:cNvPr>
          <p:cNvCxnSpPr>
            <a:cxnSpLocks/>
          </p:cNvCxnSpPr>
          <p:nvPr/>
        </p:nvCxnSpPr>
        <p:spPr>
          <a:xfrm>
            <a:off x="3966359" y="1783761"/>
            <a:ext cx="4647989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Connecteur droit 12">
            <a:extLst>
              <a:ext uri="{FF2B5EF4-FFF2-40B4-BE49-F238E27FC236}">
                <a16:creationId xmlns="" xmlns:a16="http://schemas.microsoft.com/office/drawing/2014/main" id="{B0E654E0-FEB1-184F-8F21-417B9795BE15}"/>
              </a:ext>
            </a:extLst>
          </p:cNvPr>
          <p:cNvCxnSpPr>
            <a:cxnSpLocks/>
          </p:cNvCxnSpPr>
          <p:nvPr/>
        </p:nvCxnSpPr>
        <p:spPr>
          <a:xfrm>
            <a:off x="814917" y="1783761"/>
            <a:ext cx="2739763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eur droit 13">
            <a:extLst>
              <a:ext uri="{FF2B5EF4-FFF2-40B4-BE49-F238E27FC236}">
                <a16:creationId xmlns="" xmlns:a16="http://schemas.microsoft.com/office/drawing/2014/main" id="{74E99BE0-4DA7-4C41-B715-7E59A15EDE8F}"/>
              </a:ext>
            </a:extLst>
          </p:cNvPr>
          <p:cNvCxnSpPr>
            <a:cxnSpLocks/>
          </p:cNvCxnSpPr>
          <p:nvPr/>
        </p:nvCxnSpPr>
        <p:spPr>
          <a:xfrm>
            <a:off x="8966202" y="1783761"/>
            <a:ext cx="2751665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texte 20">
            <a:extLst>
              <a:ext uri="{FF2B5EF4-FFF2-40B4-BE49-F238E27FC236}">
                <a16:creationId xmlns="" xmlns:a16="http://schemas.microsoft.com/office/drawing/2014/main" id="{8880B046-DFA3-034D-9FEB-6DDF0BF5821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4918" y="1924051"/>
            <a:ext cx="2628900" cy="2501900"/>
          </a:xfrm>
        </p:spPr>
        <p:txBody>
          <a:bodyPr/>
          <a:lstStyle>
            <a:lvl1pPr>
              <a:spcBef>
                <a:spcPts val="267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20">
            <a:extLst>
              <a:ext uri="{FF2B5EF4-FFF2-40B4-BE49-F238E27FC236}">
                <a16:creationId xmlns="" xmlns:a16="http://schemas.microsoft.com/office/drawing/2014/main" id="{12437E37-83BC-5F48-A859-72FA754935C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966359" y="1924051"/>
            <a:ext cx="4647989" cy="2501900"/>
          </a:xfrm>
        </p:spPr>
        <p:txBody>
          <a:bodyPr/>
          <a:lstStyle>
            <a:lvl1pPr>
              <a:spcBef>
                <a:spcPts val="267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20">
            <a:extLst>
              <a:ext uri="{FF2B5EF4-FFF2-40B4-BE49-F238E27FC236}">
                <a16:creationId xmlns="" xmlns:a16="http://schemas.microsoft.com/office/drawing/2014/main" id="{B32A57D1-AB01-C04A-AE18-EB2BED5246A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000975" y="1924051"/>
            <a:ext cx="2716892" cy="2501900"/>
          </a:xfrm>
        </p:spPr>
        <p:txBody>
          <a:bodyPr/>
          <a:lstStyle>
            <a:lvl1pPr>
              <a:spcBef>
                <a:spcPts val="267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pour une image  27">
            <a:extLst>
              <a:ext uri="{FF2B5EF4-FFF2-40B4-BE49-F238E27FC236}">
                <a16:creationId xmlns="" xmlns:a16="http://schemas.microsoft.com/office/drawing/2014/main" id="{E0131CA7-8C05-A145-A6A5-44246A21AEB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147234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9" name="Espace réservé pour une image  27">
            <a:extLst>
              <a:ext uri="{FF2B5EF4-FFF2-40B4-BE49-F238E27FC236}">
                <a16:creationId xmlns="" xmlns:a16="http://schemas.microsoft.com/office/drawing/2014/main" id="{D061E4DE-7DD2-F940-8135-88E5090030C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873114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0" name="Espace réservé pour une image  27">
            <a:extLst>
              <a:ext uri="{FF2B5EF4-FFF2-40B4-BE49-F238E27FC236}">
                <a16:creationId xmlns="" xmlns:a16="http://schemas.microsoft.com/office/drawing/2014/main" id="{404C7ADD-0F95-0544-A97B-69D2C754C8BF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622745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1" name="Espace réservé pour une image  27">
            <a:extLst>
              <a:ext uri="{FF2B5EF4-FFF2-40B4-BE49-F238E27FC236}">
                <a16:creationId xmlns="" xmlns:a16="http://schemas.microsoft.com/office/drawing/2014/main" id="{F8ABEF32-7592-8D40-8034-C482E149944C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356542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2" name="Espace réservé pour une image  27">
            <a:extLst>
              <a:ext uri="{FF2B5EF4-FFF2-40B4-BE49-F238E27FC236}">
                <a16:creationId xmlns="" xmlns:a16="http://schemas.microsoft.com/office/drawing/2014/main" id="{586C6D53-115A-DE46-A3D1-77D638C76527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106174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3" name="Espace réservé pour une image  27">
            <a:extLst>
              <a:ext uri="{FF2B5EF4-FFF2-40B4-BE49-F238E27FC236}">
                <a16:creationId xmlns="" xmlns:a16="http://schemas.microsoft.com/office/drawing/2014/main" id="{C175C3BA-59B3-D54F-83F8-0E022FEF243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824138" y="5027084"/>
            <a:ext cx="1401233" cy="1140883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4" name="Espace réservé du texte 34">
            <a:extLst>
              <a:ext uri="{FF2B5EF4-FFF2-40B4-BE49-F238E27FC236}">
                <a16:creationId xmlns="" xmlns:a16="http://schemas.microsoft.com/office/drawing/2014/main" id="{85D53F31-6137-5F47-BF36-ACD3675DB54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133447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5" name="Espace réservé du texte 34">
            <a:extLst>
              <a:ext uri="{FF2B5EF4-FFF2-40B4-BE49-F238E27FC236}">
                <a16:creationId xmlns="" xmlns:a16="http://schemas.microsoft.com/office/drawing/2014/main" id="{E95EB13D-5106-D745-8BE8-4553053434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2875161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6" name="Espace réservé du texte 34">
            <a:extLst>
              <a:ext uri="{FF2B5EF4-FFF2-40B4-BE49-F238E27FC236}">
                <a16:creationId xmlns="" xmlns:a16="http://schemas.microsoft.com/office/drawing/2014/main" id="{62A6B062-5C4F-5948-9F63-B14CB888E6D0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624792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7" name="Espace réservé du texte 34">
            <a:extLst>
              <a:ext uri="{FF2B5EF4-FFF2-40B4-BE49-F238E27FC236}">
                <a16:creationId xmlns="" xmlns:a16="http://schemas.microsoft.com/office/drawing/2014/main" id="{46ADC10D-507F-6A49-82C5-ABBF055CF3D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342756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8" name="Espace réservé du texte 34">
            <a:extLst>
              <a:ext uri="{FF2B5EF4-FFF2-40B4-BE49-F238E27FC236}">
                <a16:creationId xmlns="" xmlns:a16="http://schemas.microsoft.com/office/drawing/2014/main" id="{26D3C156-F3D8-D24B-B25C-CF39C04A880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8076553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9" name="Espace réservé du texte 34">
            <a:extLst>
              <a:ext uri="{FF2B5EF4-FFF2-40B4-BE49-F238E27FC236}">
                <a16:creationId xmlns="" xmlns:a16="http://schemas.microsoft.com/office/drawing/2014/main" id="{D94260F9-79ED-6D45-A12F-D879FC2289D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802433" y="4770390"/>
            <a:ext cx="1422936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31" name="ZoneTexte 30">
            <a:extLst>
              <a:ext uri="{FF2B5EF4-FFF2-40B4-BE49-F238E27FC236}">
                <a16:creationId xmlns="" xmlns:a16="http://schemas.microsoft.com/office/drawing/2014/main" id="{720EB2E8-6A12-F248-B8E2-B564DF144B22}"/>
              </a:ext>
            </a:extLst>
          </p:cNvPr>
          <p:cNvSpPr txBox="1"/>
          <p:nvPr/>
        </p:nvSpPr>
        <p:spPr>
          <a:xfrm rot="16200000">
            <a:off x="289463" y="5490848"/>
            <a:ext cx="1267807" cy="209473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>
            <a:noAutofit/>
          </a:bodyPr>
          <a:lstStyle/>
          <a:p>
            <a:r>
              <a:rPr lang="fr-FR" sz="1200" b="1" dirty="0">
                <a:solidFill>
                  <a:srgbClr val="E9E4E3"/>
                </a:solidFill>
              </a:rPr>
              <a:t>ILLUSTRATIONS</a:t>
            </a:r>
          </a:p>
        </p:txBody>
      </p:sp>
      <p:sp>
        <p:nvSpPr>
          <p:cNvPr id="32" name="Espace réservé du texte 2">
            <a:extLst>
              <a:ext uri="{FF2B5EF4-FFF2-40B4-BE49-F238E27FC236}">
                <a16:creationId xmlns="" xmlns:a16="http://schemas.microsoft.com/office/drawing/2014/main" id="{E02067C1-0511-4D44-8531-F5FB197B53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6477" y="665764"/>
            <a:ext cx="10565703" cy="341584"/>
          </a:xfrm>
        </p:spPr>
        <p:txBody>
          <a:bodyPr/>
          <a:lstStyle>
            <a:lvl1pPr>
              <a:spcBef>
                <a:spcPts val="0"/>
              </a:spcBef>
              <a:defRPr lang="fr-FR" sz="1600" b="0" i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3" name="ZoneTexte 32">
            <a:extLst>
              <a:ext uri="{FF2B5EF4-FFF2-40B4-BE49-F238E27FC236}">
                <a16:creationId xmlns="" xmlns:a16="http://schemas.microsoft.com/office/drawing/2014/main" id="{FCE9B26A-E258-EA45-850F-30DD2968DCD0}"/>
              </a:ext>
            </a:extLst>
          </p:cNvPr>
          <p:cNvSpPr txBox="1"/>
          <p:nvPr/>
        </p:nvSpPr>
        <p:spPr>
          <a:xfrm>
            <a:off x="9606730" y="1350716"/>
            <a:ext cx="2228901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Résultats obtenus</a:t>
            </a:r>
          </a:p>
        </p:txBody>
      </p:sp>
      <p:sp>
        <p:nvSpPr>
          <p:cNvPr id="34" name="Délai  3">
            <a:extLst>
              <a:ext uri="{FF2B5EF4-FFF2-40B4-BE49-F238E27FC236}">
                <a16:creationId xmlns="" xmlns:a16="http://schemas.microsoft.com/office/drawing/2014/main" id="{813A1ACD-93CB-4E56-B3AF-12C636CB1C55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460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 Client 2 photos Blan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B0EE017C-DD1D-ED46-8C0D-B6B776455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="" xmlns:a16="http://schemas.microsoft.com/office/drawing/2014/main" id="{71E3A68B-5DAC-9C48-A948-CA62047D2C39}"/>
              </a:ext>
            </a:extLst>
          </p:cNvPr>
          <p:cNvSpPr txBox="1"/>
          <p:nvPr/>
        </p:nvSpPr>
        <p:spPr>
          <a:xfrm>
            <a:off x="9200909" y="1061794"/>
            <a:ext cx="2673667" cy="4516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>
            <a:noAutofit/>
          </a:bodyPr>
          <a:lstStyle/>
          <a:p>
            <a:pPr algn="ctr"/>
            <a:r>
              <a:rPr lang="fr-FR" sz="2133" spc="267" dirty="0">
                <a:solidFill>
                  <a:srgbClr val="E9E4E3"/>
                </a:solidFill>
              </a:rPr>
              <a:t>ILLUSTRATIONS</a:t>
            </a:r>
          </a:p>
        </p:txBody>
      </p:sp>
      <p:sp>
        <p:nvSpPr>
          <p:cNvPr id="18" name="Espace réservé pour une image  27">
            <a:extLst>
              <a:ext uri="{FF2B5EF4-FFF2-40B4-BE49-F238E27FC236}">
                <a16:creationId xmlns="" xmlns:a16="http://schemas.microsoft.com/office/drawing/2014/main" id="{16160DD2-7AD6-1F46-A359-84C91F54AF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2408" y="1832408"/>
            <a:ext cx="2421169" cy="1749137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9" name="Espace réservé du texte 34">
            <a:extLst>
              <a:ext uri="{FF2B5EF4-FFF2-40B4-BE49-F238E27FC236}">
                <a16:creationId xmlns="" xmlns:a16="http://schemas.microsoft.com/office/drawing/2014/main" id="{05E152AD-BE6B-D541-AB3E-3E5657B02E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52408" y="1572491"/>
            <a:ext cx="2421169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0" name="Espace réservé pour une image  27">
            <a:extLst>
              <a:ext uri="{FF2B5EF4-FFF2-40B4-BE49-F238E27FC236}">
                <a16:creationId xmlns="" xmlns:a16="http://schemas.microsoft.com/office/drawing/2014/main" id="{7F231432-F421-9B46-A07B-AB43D0D19BD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352408" y="4184237"/>
            <a:ext cx="2421169" cy="1749137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1" name="Espace réservé du texte 34">
            <a:extLst>
              <a:ext uri="{FF2B5EF4-FFF2-40B4-BE49-F238E27FC236}">
                <a16:creationId xmlns="" xmlns:a16="http://schemas.microsoft.com/office/drawing/2014/main" id="{597CBE44-2490-7548-83F0-3528672B45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52408" y="3924320"/>
            <a:ext cx="2421169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="" xmlns:a16="http://schemas.microsoft.com/office/drawing/2014/main" id="{03E59771-D77D-3E40-A88C-D2FE11A5FF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6476" y="665764"/>
            <a:ext cx="10560608" cy="341584"/>
          </a:xfrm>
        </p:spPr>
        <p:txBody>
          <a:bodyPr/>
          <a:lstStyle>
            <a:lvl1pPr>
              <a:defRPr lang="fr-FR" sz="1600" b="0" i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="" xmlns:a16="http://schemas.microsoft.com/office/drawing/2014/main" id="{A622BAEC-25A5-BD49-BE2E-B889193A09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18" y="1622404"/>
            <a:ext cx="443460" cy="442163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="" xmlns:a16="http://schemas.microsoft.com/office/drawing/2014/main" id="{C15403E5-D98A-EE4A-B8B5-B82DB8E84171}"/>
              </a:ext>
            </a:extLst>
          </p:cNvPr>
          <p:cNvSpPr txBox="1"/>
          <p:nvPr/>
        </p:nvSpPr>
        <p:spPr>
          <a:xfrm>
            <a:off x="1243372" y="1700783"/>
            <a:ext cx="2167875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Contexte et objectif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="" xmlns:a16="http://schemas.microsoft.com/office/drawing/2014/main" id="{8B941CA1-7688-5D48-B1CC-EC3014F39BA1}"/>
              </a:ext>
            </a:extLst>
          </p:cNvPr>
          <p:cNvCxnSpPr>
            <a:cxnSpLocks/>
          </p:cNvCxnSpPr>
          <p:nvPr/>
        </p:nvCxnSpPr>
        <p:spPr>
          <a:xfrm>
            <a:off x="814918" y="2085057"/>
            <a:ext cx="3600449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="" xmlns:a16="http://schemas.microsoft.com/office/drawing/2014/main" id="{F186F9FA-B1C5-2643-BDC9-8309C5D5DD9D}"/>
              </a:ext>
            </a:extLst>
          </p:cNvPr>
          <p:cNvCxnSpPr>
            <a:cxnSpLocks/>
          </p:cNvCxnSpPr>
          <p:nvPr/>
        </p:nvCxnSpPr>
        <p:spPr>
          <a:xfrm>
            <a:off x="4878918" y="2079595"/>
            <a:ext cx="3600449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Image 28">
            <a:extLst>
              <a:ext uri="{FF2B5EF4-FFF2-40B4-BE49-F238E27FC236}">
                <a16:creationId xmlns="" xmlns:a16="http://schemas.microsoft.com/office/drawing/2014/main" id="{1B0D3DDE-3FD3-4147-B616-12E8B1A3DB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8919" y="1616928"/>
            <a:ext cx="382320" cy="382320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="" xmlns:a16="http://schemas.microsoft.com/office/drawing/2014/main" id="{FD1F487D-F957-8B47-B308-75B7FEF22EC5}"/>
              </a:ext>
            </a:extLst>
          </p:cNvPr>
          <p:cNvSpPr txBox="1"/>
          <p:nvPr/>
        </p:nvSpPr>
        <p:spPr>
          <a:xfrm>
            <a:off x="5271485" y="1655955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Travaux réalisés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="" xmlns:a16="http://schemas.microsoft.com/office/drawing/2014/main" id="{4B6B335F-3BD5-0E45-8201-95E31F4EF9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68" y="4424539"/>
            <a:ext cx="423640" cy="423640"/>
          </a:xfrm>
          <a:prstGeom prst="rect">
            <a:avLst/>
          </a:prstGeom>
        </p:spPr>
      </p:pic>
      <p:sp>
        <p:nvSpPr>
          <p:cNvPr id="32" name="ZoneTexte 31">
            <a:extLst>
              <a:ext uri="{FF2B5EF4-FFF2-40B4-BE49-F238E27FC236}">
                <a16:creationId xmlns="" xmlns:a16="http://schemas.microsoft.com/office/drawing/2014/main" id="{7C264726-7654-2648-87B1-9EB2F4185B98}"/>
              </a:ext>
            </a:extLst>
          </p:cNvPr>
          <p:cNvSpPr txBox="1"/>
          <p:nvPr/>
        </p:nvSpPr>
        <p:spPr>
          <a:xfrm>
            <a:off x="1222509" y="4499032"/>
            <a:ext cx="2970324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Résultats obtenus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="" xmlns:a16="http://schemas.microsoft.com/office/drawing/2014/main" id="{A037637B-D9B4-B740-8D66-35781298BDF9}"/>
              </a:ext>
            </a:extLst>
          </p:cNvPr>
          <p:cNvCxnSpPr>
            <a:cxnSpLocks/>
          </p:cNvCxnSpPr>
          <p:nvPr/>
        </p:nvCxnSpPr>
        <p:spPr>
          <a:xfrm>
            <a:off x="798869" y="4885885"/>
            <a:ext cx="3600449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space réservé du texte 18">
            <a:extLst>
              <a:ext uri="{FF2B5EF4-FFF2-40B4-BE49-F238E27FC236}">
                <a16:creationId xmlns="" xmlns:a16="http://schemas.microsoft.com/office/drawing/2014/main" id="{2B853CA2-CC38-104E-AF50-B028E8AAA7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4918" y="2267096"/>
            <a:ext cx="3600449" cy="1615905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8">
            <a:extLst>
              <a:ext uri="{FF2B5EF4-FFF2-40B4-BE49-F238E27FC236}">
                <a16:creationId xmlns="" xmlns:a16="http://schemas.microsoft.com/office/drawing/2014/main" id="{2B853CA2-CC38-104E-AF50-B028E8AAA78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896397" y="2251801"/>
            <a:ext cx="3600449" cy="4051769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8">
            <a:extLst>
              <a:ext uri="{FF2B5EF4-FFF2-40B4-BE49-F238E27FC236}">
                <a16:creationId xmlns="" xmlns:a16="http://schemas.microsoft.com/office/drawing/2014/main" id="{2B853CA2-CC38-104E-AF50-B028E8AAA78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99624" y="5058151"/>
            <a:ext cx="3600449" cy="1234496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Délai  3">
            <a:extLst>
              <a:ext uri="{FF2B5EF4-FFF2-40B4-BE49-F238E27FC236}">
                <a16:creationId xmlns="" xmlns:a16="http://schemas.microsoft.com/office/drawing/2014/main" id="{EAF5B085-722C-488A-9950-16710F9D0116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170740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 Client 2 photo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50F202E7-E79A-47B6-9E87-2CBB83015A2E}"/>
              </a:ext>
            </a:extLst>
          </p:cNvPr>
          <p:cNvSpPr/>
          <p:nvPr/>
        </p:nvSpPr>
        <p:spPr>
          <a:xfrm>
            <a:off x="8791576" y="0"/>
            <a:ext cx="3400424" cy="6861013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fr-FR" sz="2133" dirty="0">
              <a:solidFill>
                <a:srgbClr val="323748"/>
              </a:solidFill>
            </a:endParaRPr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B0EE017C-DD1D-ED46-8C0D-B6B776455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="" xmlns:a16="http://schemas.microsoft.com/office/drawing/2014/main" id="{71E3A68B-5DAC-9C48-A948-CA62047D2C39}"/>
              </a:ext>
            </a:extLst>
          </p:cNvPr>
          <p:cNvSpPr txBox="1"/>
          <p:nvPr/>
        </p:nvSpPr>
        <p:spPr>
          <a:xfrm>
            <a:off x="9200909" y="1061794"/>
            <a:ext cx="2673667" cy="45167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>
            <a:noAutofit/>
          </a:bodyPr>
          <a:lstStyle/>
          <a:p>
            <a:pPr algn="ctr"/>
            <a:r>
              <a:rPr lang="fr-FR" sz="2133" spc="267" dirty="0">
                <a:solidFill>
                  <a:srgbClr val="E9E4E3"/>
                </a:solidFill>
              </a:rPr>
              <a:t>ILLUSTRATIONS</a:t>
            </a:r>
          </a:p>
        </p:txBody>
      </p:sp>
      <p:sp>
        <p:nvSpPr>
          <p:cNvPr id="18" name="Espace réservé pour une image  27">
            <a:extLst>
              <a:ext uri="{FF2B5EF4-FFF2-40B4-BE49-F238E27FC236}">
                <a16:creationId xmlns="" xmlns:a16="http://schemas.microsoft.com/office/drawing/2014/main" id="{16160DD2-7AD6-1F46-A359-84C91F54AF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352408" y="1832408"/>
            <a:ext cx="2421169" cy="1749137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9" name="Espace réservé du texte 34">
            <a:extLst>
              <a:ext uri="{FF2B5EF4-FFF2-40B4-BE49-F238E27FC236}">
                <a16:creationId xmlns="" xmlns:a16="http://schemas.microsoft.com/office/drawing/2014/main" id="{05E152AD-BE6B-D541-AB3E-3E5657B02EA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9352408" y="1572491"/>
            <a:ext cx="2421169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0" name="Espace réservé pour une image  27">
            <a:extLst>
              <a:ext uri="{FF2B5EF4-FFF2-40B4-BE49-F238E27FC236}">
                <a16:creationId xmlns="" xmlns:a16="http://schemas.microsoft.com/office/drawing/2014/main" id="{7F231432-F421-9B46-A07B-AB43D0D19BD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352408" y="4184237"/>
            <a:ext cx="2421169" cy="1749137"/>
          </a:xfrm>
          <a:solidFill>
            <a:schemeClr val="bg2"/>
          </a:solidFill>
        </p:spPr>
        <p:txBody>
          <a:bodyPr anchor="ctr"/>
          <a:lstStyle>
            <a:lvl1pPr algn="ctr"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1" name="Espace réservé du texte 34">
            <a:extLst>
              <a:ext uri="{FF2B5EF4-FFF2-40B4-BE49-F238E27FC236}">
                <a16:creationId xmlns="" xmlns:a16="http://schemas.microsoft.com/office/drawing/2014/main" id="{597CBE44-2490-7548-83F0-3528672B45BA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9352408" y="3924320"/>
            <a:ext cx="2421169" cy="173567"/>
          </a:xfrm>
        </p:spPr>
        <p:txBody>
          <a:bodyPr anchor="b"/>
          <a:lstStyle>
            <a:lvl1pPr algn="ctr">
              <a:spcBef>
                <a:spcPts val="0"/>
              </a:spcBef>
              <a:defRPr sz="667" i="1"/>
            </a:lvl1pPr>
          </a:lstStyle>
          <a:p>
            <a:r>
              <a:rPr lang="fr-FR" dirty="0"/>
              <a:t>Légende</a:t>
            </a:r>
          </a:p>
        </p:txBody>
      </p:sp>
      <p:sp>
        <p:nvSpPr>
          <p:cNvPr id="22" name="Espace réservé du texte 2">
            <a:extLst>
              <a:ext uri="{FF2B5EF4-FFF2-40B4-BE49-F238E27FC236}">
                <a16:creationId xmlns="" xmlns:a16="http://schemas.microsoft.com/office/drawing/2014/main" id="{03E59771-D77D-3E40-A88C-D2FE11A5FFB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16477" y="665764"/>
            <a:ext cx="10585815" cy="341584"/>
          </a:xfrm>
        </p:spPr>
        <p:txBody>
          <a:bodyPr/>
          <a:lstStyle>
            <a:lvl1pPr>
              <a:defRPr lang="fr-FR" sz="1600" b="0" i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25" name="Image 24">
            <a:extLst>
              <a:ext uri="{FF2B5EF4-FFF2-40B4-BE49-F238E27FC236}">
                <a16:creationId xmlns="" xmlns:a16="http://schemas.microsoft.com/office/drawing/2014/main" id="{A622BAEC-25A5-BD49-BE2E-B889193A09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918" y="1622404"/>
            <a:ext cx="443460" cy="442163"/>
          </a:xfrm>
          <a:prstGeom prst="rect">
            <a:avLst/>
          </a:prstGeom>
        </p:spPr>
      </p:pic>
      <p:sp>
        <p:nvSpPr>
          <p:cNvPr id="26" name="ZoneTexte 25">
            <a:extLst>
              <a:ext uri="{FF2B5EF4-FFF2-40B4-BE49-F238E27FC236}">
                <a16:creationId xmlns="" xmlns:a16="http://schemas.microsoft.com/office/drawing/2014/main" id="{C15403E5-D98A-EE4A-B8B5-B82DB8E84171}"/>
              </a:ext>
            </a:extLst>
          </p:cNvPr>
          <p:cNvSpPr txBox="1"/>
          <p:nvPr/>
        </p:nvSpPr>
        <p:spPr>
          <a:xfrm>
            <a:off x="1243372" y="1700783"/>
            <a:ext cx="2167875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Contexte et objectifs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="" xmlns:a16="http://schemas.microsoft.com/office/drawing/2014/main" id="{8B941CA1-7688-5D48-B1CC-EC3014F39BA1}"/>
              </a:ext>
            </a:extLst>
          </p:cNvPr>
          <p:cNvCxnSpPr>
            <a:cxnSpLocks/>
          </p:cNvCxnSpPr>
          <p:nvPr/>
        </p:nvCxnSpPr>
        <p:spPr>
          <a:xfrm>
            <a:off x="814918" y="2085057"/>
            <a:ext cx="3600449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droit 27">
            <a:extLst>
              <a:ext uri="{FF2B5EF4-FFF2-40B4-BE49-F238E27FC236}">
                <a16:creationId xmlns="" xmlns:a16="http://schemas.microsoft.com/office/drawing/2014/main" id="{F186F9FA-B1C5-2643-BDC9-8309C5D5DD9D}"/>
              </a:ext>
            </a:extLst>
          </p:cNvPr>
          <p:cNvCxnSpPr>
            <a:cxnSpLocks/>
          </p:cNvCxnSpPr>
          <p:nvPr/>
        </p:nvCxnSpPr>
        <p:spPr>
          <a:xfrm>
            <a:off x="4878918" y="2079595"/>
            <a:ext cx="3600449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9" name="Image 28">
            <a:extLst>
              <a:ext uri="{FF2B5EF4-FFF2-40B4-BE49-F238E27FC236}">
                <a16:creationId xmlns="" xmlns:a16="http://schemas.microsoft.com/office/drawing/2014/main" id="{1B0D3DDE-3FD3-4147-B616-12E8B1A3DB3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8919" y="1616928"/>
            <a:ext cx="382320" cy="382320"/>
          </a:xfrm>
          <a:prstGeom prst="rect">
            <a:avLst/>
          </a:prstGeom>
        </p:spPr>
      </p:pic>
      <p:sp>
        <p:nvSpPr>
          <p:cNvPr id="30" name="ZoneTexte 29">
            <a:extLst>
              <a:ext uri="{FF2B5EF4-FFF2-40B4-BE49-F238E27FC236}">
                <a16:creationId xmlns="" xmlns:a16="http://schemas.microsoft.com/office/drawing/2014/main" id="{FD1F487D-F957-8B47-B308-75B7FEF22EC5}"/>
              </a:ext>
            </a:extLst>
          </p:cNvPr>
          <p:cNvSpPr txBox="1"/>
          <p:nvPr/>
        </p:nvSpPr>
        <p:spPr>
          <a:xfrm>
            <a:off x="5271485" y="1655955"/>
            <a:ext cx="3267356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Travaux réalisés</a:t>
            </a:r>
          </a:p>
        </p:txBody>
      </p:sp>
      <p:pic>
        <p:nvPicPr>
          <p:cNvPr id="31" name="Image 30">
            <a:extLst>
              <a:ext uri="{FF2B5EF4-FFF2-40B4-BE49-F238E27FC236}">
                <a16:creationId xmlns="" xmlns:a16="http://schemas.microsoft.com/office/drawing/2014/main" id="{4B6B335F-3BD5-0E45-8201-95E31F4EF9E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8868" y="4424539"/>
            <a:ext cx="423640" cy="423640"/>
          </a:xfrm>
          <a:prstGeom prst="rect">
            <a:avLst/>
          </a:prstGeom>
        </p:spPr>
      </p:pic>
      <p:sp>
        <p:nvSpPr>
          <p:cNvPr id="32" name="ZoneTexte 31">
            <a:extLst>
              <a:ext uri="{FF2B5EF4-FFF2-40B4-BE49-F238E27FC236}">
                <a16:creationId xmlns="" xmlns:a16="http://schemas.microsoft.com/office/drawing/2014/main" id="{7C264726-7654-2648-87B1-9EB2F4185B98}"/>
              </a:ext>
            </a:extLst>
          </p:cNvPr>
          <p:cNvSpPr txBox="1"/>
          <p:nvPr/>
        </p:nvSpPr>
        <p:spPr>
          <a:xfrm>
            <a:off x="1222509" y="4499032"/>
            <a:ext cx="2970324" cy="36378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48000" rIns="48000" bIns="48000" rtlCol="0" anchor="b">
            <a:noAutofit/>
          </a:bodyPr>
          <a:lstStyle/>
          <a:p>
            <a:r>
              <a:rPr lang="fr-FR" sz="1467" b="1" dirty="0">
                <a:solidFill>
                  <a:srgbClr val="59108D"/>
                </a:solidFill>
              </a:rPr>
              <a:t>Résultats obtenus</a:t>
            </a:r>
          </a:p>
        </p:txBody>
      </p:sp>
      <p:cxnSp>
        <p:nvCxnSpPr>
          <p:cNvPr id="33" name="Connecteur droit 32">
            <a:extLst>
              <a:ext uri="{FF2B5EF4-FFF2-40B4-BE49-F238E27FC236}">
                <a16:creationId xmlns="" xmlns:a16="http://schemas.microsoft.com/office/drawing/2014/main" id="{A037637B-D9B4-B740-8D66-35781298BDF9}"/>
              </a:ext>
            </a:extLst>
          </p:cNvPr>
          <p:cNvCxnSpPr>
            <a:cxnSpLocks/>
          </p:cNvCxnSpPr>
          <p:nvPr/>
        </p:nvCxnSpPr>
        <p:spPr>
          <a:xfrm>
            <a:off x="798869" y="4885885"/>
            <a:ext cx="3600449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Espace réservé du texte 18">
            <a:extLst>
              <a:ext uri="{FF2B5EF4-FFF2-40B4-BE49-F238E27FC236}">
                <a16:creationId xmlns="" xmlns:a16="http://schemas.microsoft.com/office/drawing/2014/main" id="{2B853CA2-CC38-104E-AF50-B028E8AAA78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14918" y="2267096"/>
            <a:ext cx="3600449" cy="1615905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5" name="Espace réservé du texte 18">
            <a:extLst>
              <a:ext uri="{FF2B5EF4-FFF2-40B4-BE49-F238E27FC236}">
                <a16:creationId xmlns="" xmlns:a16="http://schemas.microsoft.com/office/drawing/2014/main" id="{2B853CA2-CC38-104E-AF50-B028E8AAA78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4896397" y="2251801"/>
            <a:ext cx="3600449" cy="4051769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6" name="Espace réservé du texte 18">
            <a:extLst>
              <a:ext uri="{FF2B5EF4-FFF2-40B4-BE49-F238E27FC236}">
                <a16:creationId xmlns="" xmlns:a16="http://schemas.microsoft.com/office/drawing/2014/main" id="{2B853CA2-CC38-104E-AF50-B028E8AAA78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799624" y="5058151"/>
            <a:ext cx="3600449" cy="1234496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Délai  3">
            <a:extLst>
              <a:ext uri="{FF2B5EF4-FFF2-40B4-BE49-F238E27FC236}">
                <a16:creationId xmlns="" xmlns:a16="http://schemas.microsoft.com/office/drawing/2014/main" id="{EAF5B085-722C-488A-9950-16710F9D0116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grpSp>
        <p:nvGrpSpPr>
          <p:cNvPr id="37" name="Groupe 13">
            <a:extLst>
              <a:ext uri="{FF2B5EF4-FFF2-40B4-BE49-F238E27FC236}">
                <a16:creationId xmlns="" xmlns:a16="http://schemas.microsoft.com/office/drawing/2014/main" id="{BD6E89AF-77C2-4F0E-B26B-FCB105BB6FA8}"/>
              </a:ext>
            </a:extLst>
          </p:cNvPr>
          <p:cNvGrpSpPr/>
          <p:nvPr/>
        </p:nvGrpSpPr>
        <p:grpSpPr>
          <a:xfrm>
            <a:off x="11485569" y="6231199"/>
            <a:ext cx="408776" cy="405060"/>
            <a:chOff x="4763" y="1558926"/>
            <a:chExt cx="2095500" cy="2076450"/>
          </a:xfrm>
          <a:solidFill>
            <a:schemeClr val="accent2"/>
          </a:solidFill>
        </p:grpSpPr>
        <p:sp>
          <p:nvSpPr>
            <p:cNvPr id="38" name="Freeform 11">
              <a:extLst>
                <a:ext uri="{FF2B5EF4-FFF2-40B4-BE49-F238E27FC236}">
                  <a16:creationId xmlns="" xmlns:a16="http://schemas.microsoft.com/office/drawing/2014/main" id="{252F0A58-6195-4864-BBE1-0A1935D56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1808164"/>
              <a:ext cx="663575" cy="841375"/>
            </a:xfrm>
            <a:custGeom>
              <a:avLst/>
              <a:gdLst>
                <a:gd name="T0" fmla="*/ 302 w 302"/>
                <a:gd name="T1" fmla="*/ 151 h 383"/>
                <a:gd name="T2" fmla="*/ 151 w 302"/>
                <a:gd name="T3" fmla="*/ 0 h 383"/>
                <a:gd name="T4" fmla="*/ 0 w 302"/>
                <a:gd name="T5" fmla="*/ 151 h 383"/>
                <a:gd name="T6" fmla="*/ 0 w 302"/>
                <a:gd name="T7" fmla="*/ 232 h 383"/>
                <a:gd name="T8" fmla="*/ 151 w 302"/>
                <a:gd name="T9" fmla="*/ 383 h 383"/>
                <a:gd name="T10" fmla="*/ 302 w 302"/>
                <a:gd name="T11" fmla="*/ 232 h 383"/>
                <a:gd name="T12" fmla="*/ 302 w 302"/>
                <a:gd name="T13" fmla="*/ 1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383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218"/>
                    <a:pt x="0" y="232"/>
                  </a:cubicBezTo>
                  <a:cubicBezTo>
                    <a:pt x="0" y="315"/>
                    <a:pt x="67" y="383"/>
                    <a:pt x="151" y="383"/>
                  </a:cubicBezTo>
                  <a:cubicBezTo>
                    <a:pt x="234" y="383"/>
                    <a:pt x="302" y="315"/>
                    <a:pt x="302" y="232"/>
                  </a:cubicBezTo>
                  <a:cubicBezTo>
                    <a:pt x="302" y="218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9" name="Freeform 12">
              <a:extLst>
                <a:ext uri="{FF2B5EF4-FFF2-40B4-BE49-F238E27FC236}">
                  <a16:creationId xmlns="" xmlns:a16="http://schemas.microsoft.com/office/drawing/2014/main" id="{891FA748-C01C-43B4-8B33-C1B4700965DA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0" name="Freeform 13">
              <a:extLst>
                <a:ext uri="{FF2B5EF4-FFF2-40B4-BE49-F238E27FC236}">
                  <a16:creationId xmlns="" xmlns:a16="http://schemas.microsoft.com/office/drawing/2014/main" id="{EBF70C66-864F-4255-8A28-A1F19B54ECA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75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</p:grpSp>
      <p:sp>
        <p:nvSpPr>
          <p:cNvPr id="41" name="ZoneTexte 40">
            <a:extLst>
              <a:ext uri="{FF2B5EF4-FFF2-40B4-BE49-F238E27FC236}">
                <a16:creationId xmlns="" xmlns:a16="http://schemas.microsoft.com/office/drawing/2014/main" id="{4DDB997D-C06B-40DE-ADAF-2AFE869FBCE5}"/>
              </a:ext>
            </a:extLst>
          </p:cNvPr>
          <p:cNvSpPr txBox="1"/>
          <p:nvPr/>
        </p:nvSpPr>
        <p:spPr>
          <a:xfrm>
            <a:off x="10261601" y="6515388"/>
            <a:ext cx="1146905" cy="143565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0" rIns="48000" bIns="0" rtlCol="0" anchor="ctr">
            <a:spAutoFit/>
          </a:bodyPr>
          <a:lstStyle/>
          <a:p>
            <a:r>
              <a:rPr lang="fr-FR" sz="933" dirty="0">
                <a:solidFill>
                  <a:srgbClr val="323748"/>
                </a:solidFill>
              </a:rPr>
              <a:t>Confidentiel © PMP</a:t>
            </a:r>
          </a:p>
        </p:txBody>
      </p:sp>
    </p:spTree>
    <p:extLst>
      <p:ext uri="{BB962C8B-B14F-4D97-AF65-F5344CB8AC3E}">
        <p14:creationId xmlns:p14="http://schemas.microsoft.com/office/powerpoint/2010/main" val="175791785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éférences 13 cli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39C02853-AE31-8449-89EC-BED06E0881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Délai  4">
            <a:extLst>
              <a:ext uri="{FF2B5EF4-FFF2-40B4-BE49-F238E27FC236}">
                <a16:creationId xmlns="" xmlns:a16="http://schemas.microsoft.com/office/drawing/2014/main" id="{E8F85AC5-ED9F-AA4F-83E9-FCCB24955103}"/>
              </a:ext>
            </a:extLst>
          </p:cNvPr>
          <p:cNvSpPr/>
          <p:nvPr/>
        </p:nvSpPr>
        <p:spPr>
          <a:xfrm rot="10800000">
            <a:off x="10354989" y="3848483"/>
            <a:ext cx="1837009" cy="2091524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endParaRPr lang="fr-FR" sz="800" b="1" dirty="0">
              <a:solidFill>
                <a:srgbClr val="323748"/>
              </a:solidFill>
            </a:endParaRPr>
          </a:p>
        </p:txBody>
      </p:sp>
      <p:sp>
        <p:nvSpPr>
          <p:cNvPr id="6" name="Espace réservé du texte 18">
            <a:extLst>
              <a:ext uri="{FF2B5EF4-FFF2-40B4-BE49-F238E27FC236}">
                <a16:creationId xmlns="" xmlns:a16="http://schemas.microsoft.com/office/drawing/2014/main" id="{303CCA2D-CFC8-354B-A9ED-FBE657BB840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92848" y="1651339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7" name="Connecteur droit 6">
            <a:extLst>
              <a:ext uri="{FF2B5EF4-FFF2-40B4-BE49-F238E27FC236}">
                <a16:creationId xmlns="" xmlns:a16="http://schemas.microsoft.com/office/drawing/2014/main" id="{8D6664D1-33DD-E44C-B8A7-21E5968F4718}"/>
              </a:ext>
            </a:extLst>
          </p:cNvPr>
          <p:cNvCxnSpPr/>
          <p:nvPr/>
        </p:nvCxnSpPr>
        <p:spPr>
          <a:xfrm flipH="1">
            <a:off x="790223" y="1166445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Délai  7">
            <a:extLst>
              <a:ext uri="{FF2B5EF4-FFF2-40B4-BE49-F238E27FC236}">
                <a16:creationId xmlns="" xmlns:a16="http://schemas.microsoft.com/office/drawing/2014/main" id="{532F625D-0F99-094B-B0B8-56CF08FC2B06}"/>
              </a:ext>
            </a:extLst>
          </p:cNvPr>
          <p:cNvSpPr/>
          <p:nvPr/>
        </p:nvSpPr>
        <p:spPr>
          <a:xfrm>
            <a:off x="872323" y="3021320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9" name="Délai  8">
            <a:extLst>
              <a:ext uri="{FF2B5EF4-FFF2-40B4-BE49-F238E27FC236}">
                <a16:creationId xmlns="" xmlns:a16="http://schemas.microsoft.com/office/drawing/2014/main" id="{D13D74BB-C679-184D-81C6-D36670F4A750}"/>
              </a:ext>
            </a:extLst>
          </p:cNvPr>
          <p:cNvSpPr/>
          <p:nvPr/>
        </p:nvSpPr>
        <p:spPr>
          <a:xfrm>
            <a:off x="1165833" y="3021320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10" name="Délai  9">
            <a:extLst>
              <a:ext uri="{FF2B5EF4-FFF2-40B4-BE49-F238E27FC236}">
                <a16:creationId xmlns="" xmlns:a16="http://schemas.microsoft.com/office/drawing/2014/main" id="{55AD2226-4294-814B-BA10-2E4BB956023B}"/>
              </a:ext>
            </a:extLst>
          </p:cNvPr>
          <p:cNvSpPr/>
          <p:nvPr/>
        </p:nvSpPr>
        <p:spPr>
          <a:xfrm>
            <a:off x="1459344" y="3021320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11" name="Délai  10">
            <a:extLst>
              <a:ext uri="{FF2B5EF4-FFF2-40B4-BE49-F238E27FC236}">
                <a16:creationId xmlns="" xmlns:a16="http://schemas.microsoft.com/office/drawing/2014/main" id="{395220D0-2079-8244-B803-5F891760AAB4}"/>
              </a:ext>
            </a:extLst>
          </p:cNvPr>
          <p:cNvSpPr/>
          <p:nvPr/>
        </p:nvSpPr>
        <p:spPr>
          <a:xfrm>
            <a:off x="1752856" y="3021320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12" name="Espace réservé du texte 18">
            <a:extLst>
              <a:ext uri="{FF2B5EF4-FFF2-40B4-BE49-F238E27FC236}">
                <a16:creationId xmlns="" xmlns:a16="http://schemas.microsoft.com/office/drawing/2014/main" id="{FDB3A4A6-72EB-E44C-9148-F8E4CDBF278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2512291" y="1628760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3" name="Connecteur droit 12">
            <a:extLst>
              <a:ext uri="{FF2B5EF4-FFF2-40B4-BE49-F238E27FC236}">
                <a16:creationId xmlns="" xmlns:a16="http://schemas.microsoft.com/office/drawing/2014/main" id="{C2F198A2-F39F-EB46-9D44-4312C9ADEEAE}"/>
              </a:ext>
            </a:extLst>
          </p:cNvPr>
          <p:cNvCxnSpPr/>
          <p:nvPr/>
        </p:nvCxnSpPr>
        <p:spPr>
          <a:xfrm flipH="1">
            <a:off x="2409665" y="1143866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Délai  13">
            <a:extLst>
              <a:ext uri="{FF2B5EF4-FFF2-40B4-BE49-F238E27FC236}">
                <a16:creationId xmlns="" xmlns:a16="http://schemas.microsoft.com/office/drawing/2014/main" id="{968438C1-073E-9C4E-8BF6-3DEA573BF345}"/>
              </a:ext>
            </a:extLst>
          </p:cNvPr>
          <p:cNvSpPr/>
          <p:nvPr/>
        </p:nvSpPr>
        <p:spPr>
          <a:xfrm>
            <a:off x="2491765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15" name="Délai  14">
            <a:extLst>
              <a:ext uri="{FF2B5EF4-FFF2-40B4-BE49-F238E27FC236}">
                <a16:creationId xmlns="" xmlns:a16="http://schemas.microsoft.com/office/drawing/2014/main" id="{9FD50766-0569-1349-ADEA-2CD049453AED}"/>
              </a:ext>
            </a:extLst>
          </p:cNvPr>
          <p:cNvSpPr/>
          <p:nvPr/>
        </p:nvSpPr>
        <p:spPr>
          <a:xfrm>
            <a:off x="2785276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16" name="Délai  15">
            <a:extLst>
              <a:ext uri="{FF2B5EF4-FFF2-40B4-BE49-F238E27FC236}">
                <a16:creationId xmlns="" xmlns:a16="http://schemas.microsoft.com/office/drawing/2014/main" id="{DB7892A2-D711-5B4D-AF8B-2EF849592DED}"/>
              </a:ext>
            </a:extLst>
          </p:cNvPr>
          <p:cNvSpPr/>
          <p:nvPr/>
        </p:nvSpPr>
        <p:spPr>
          <a:xfrm>
            <a:off x="3078787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17" name="Délai  16">
            <a:extLst>
              <a:ext uri="{FF2B5EF4-FFF2-40B4-BE49-F238E27FC236}">
                <a16:creationId xmlns="" xmlns:a16="http://schemas.microsoft.com/office/drawing/2014/main" id="{DC9A2CE8-2197-7946-B87A-6DDDD07FBC1C}"/>
              </a:ext>
            </a:extLst>
          </p:cNvPr>
          <p:cNvSpPr/>
          <p:nvPr/>
        </p:nvSpPr>
        <p:spPr>
          <a:xfrm>
            <a:off x="3372299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18" name="Espace réservé du texte 18">
            <a:extLst>
              <a:ext uri="{FF2B5EF4-FFF2-40B4-BE49-F238E27FC236}">
                <a16:creationId xmlns="" xmlns:a16="http://schemas.microsoft.com/office/drawing/2014/main" id="{5DC46036-72FB-9F4E-9A50-E54E96A418F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102997" y="1628760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9" name="Connecteur droit 18">
            <a:extLst>
              <a:ext uri="{FF2B5EF4-FFF2-40B4-BE49-F238E27FC236}">
                <a16:creationId xmlns="" xmlns:a16="http://schemas.microsoft.com/office/drawing/2014/main" id="{8D31206D-A8C1-774B-AD8F-DB9F6C74F724}"/>
              </a:ext>
            </a:extLst>
          </p:cNvPr>
          <p:cNvCxnSpPr/>
          <p:nvPr/>
        </p:nvCxnSpPr>
        <p:spPr>
          <a:xfrm flipH="1">
            <a:off x="4000372" y="1143866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Délai  19">
            <a:extLst>
              <a:ext uri="{FF2B5EF4-FFF2-40B4-BE49-F238E27FC236}">
                <a16:creationId xmlns="" xmlns:a16="http://schemas.microsoft.com/office/drawing/2014/main" id="{3D4A46A0-E406-6D40-A029-F666665118AD}"/>
              </a:ext>
            </a:extLst>
          </p:cNvPr>
          <p:cNvSpPr/>
          <p:nvPr/>
        </p:nvSpPr>
        <p:spPr>
          <a:xfrm>
            <a:off x="4082472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21" name="Délai  20">
            <a:extLst>
              <a:ext uri="{FF2B5EF4-FFF2-40B4-BE49-F238E27FC236}">
                <a16:creationId xmlns="" xmlns:a16="http://schemas.microsoft.com/office/drawing/2014/main" id="{F3D05405-A376-8B41-9CB5-440402913418}"/>
              </a:ext>
            </a:extLst>
          </p:cNvPr>
          <p:cNvSpPr/>
          <p:nvPr/>
        </p:nvSpPr>
        <p:spPr>
          <a:xfrm>
            <a:off x="4375983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22" name="Délai  21">
            <a:extLst>
              <a:ext uri="{FF2B5EF4-FFF2-40B4-BE49-F238E27FC236}">
                <a16:creationId xmlns="" xmlns:a16="http://schemas.microsoft.com/office/drawing/2014/main" id="{424C8C31-93EC-9A45-98DC-BEB836D0BA24}"/>
              </a:ext>
            </a:extLst>
          </p:cNvPr>
          <p:cNvSpPr/>
          <p:nvPr/>
        </p:nvSpPr>
        <p:spPr>
          <a:xfrm>
            <a:off x="4669493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23" name="Délai  22">
            <a:extLst>
              <a:ext uri="{FF2B5EF4-FFF2-40B4-BE49-F238E27FC236}">
                <a16:creationId xmlns="" xmlns:a16="http://schemas.microsoft.com/office/drawing/2014/main" id="{61F0B113-0B56-D846-85AD-2DE62152E3F3}"/>
              </a:ext>
            </a:extLst>
          </p:cNvPr>
          <p:cNvSpPr/>
          <p:nvPr/>
        </p:nvSpPr>
        <p:spPr>
          <a:xfrm>
            <a:off x="4963005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24" name="Espace réservé du texte 18">
            <a:extLst>
              <a:ext uri="{FF2B5EF4-FFF2-40B4-BE49-F238E27FC236}">
                <a16:creationId xmlns="" xmlns:a16="http://schemas.microsoft.com/office/drawing/2014/main" id="{CA202452-0FC2-0748-95E1-FA915456D69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5673180" y="1639023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25" name="Connecteur droit 24">
            <a:extLst>
              <a:ext uri="{FF2B5EF4-FFF2-40B4-BE49-F238E27FC236}">
                <a16:creationId xmlns="" xmlns:a16="http://schemas.microsoft.com/office/drawing/2014/main" id="{2DEFD04B-1A79-8C4D-B748-58A82A32D900}"/>
              </a:ext>
            </a:extLst>
          </p:cNvPr>
          <p:cNvCxnSpPr/>
          <p:nvPr/>
        </p:nvCxnSpPr>
        <p:spPr>
          <a:xfrm flipH="1">
            <a:off x="5570555" y="1154129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Délai  25">
            <a:extLst>
              <a:ext uri="{FF2B5EF4-FFF2-40B4-BE49-F238E27FC236}">
                <a16:creationId xmlns="" xmlns:a16="http://schemas.microsoft.com/office/drawing/2014/main" id="{0E48BF5C-7232-E942-A91D-2FEB4DE317B8}"/>
              </a:ext>
            </a:extLst>
          </p:cNvPr>
          <p:cNvSpPr/>
          <p:nvPr/>
        </p:nvSpPr>
        <p:spPr>
          <a:xfrm>
            <a:off x="5652655" y="3009004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27" name="Délai  26">
            <a:extLst>
              <a:ext uri="{FF2B5EF4-FFF2-40B4-BE49-F238E27FC236}">
                <a16:creationId xmlns="" xmlns:a16="http://schemas.microsoft.com/office/drawing/2014/main" id="{2176DE5D-7270-5646-BE0B-0A90AF38E00D}"/>
              </a:ext>
            </a:extLst>
          </p:cNvPr>
          <p:cNvSpPr/>
          <p:nvPr/>
        </p:nvSpPr>
        <p:spPr>
          <a:xfrm>
            <a:off x="5946165" y="3009004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28" name="Délai  27">
            <a:extLst>
              <a:ext uri="{FF2B5EF4-FFF2-40B4-BE49-F238E27FC236}">
                <a16:creationId xmlns="" xmlns:a16="http://schemas.microsoft.com/office/drawing/2014/main" id="{3E6ABFFD-D769-CC48-B847-798DDEA17284}"/>
              </a:ext>
            </a:extLst>
          </p:cNvPr>
          <p:cNvSpPr/>
          <p:nvPr/>
        </p:nvSpPr>
        <p:spPr>
          <a:xfrm>
            <a:off x="6239676" y="3009004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29" name="Délai  28">
            <a:extLst>
              <a:ext uri="{FF2B5EF4-FFF2-40B4-BE49-F238E27FC236}">
                <a16:creationId xmlns="" xmlns:a16="http://schemas.microsoft.com/office/drawing/2014/main" id="{3D4BA4AA-6A2B-C94E-A1BF-36E393E12922}"/>
              </a:ext>
            </a:extLst>
          </p:cNvPr>
          <p:cNvSpPr/>
          <p:nvPr/>
        </p:nvSpPr>
        <p:spPr>
          <a:xfrm>
            <a:off x="6533188" y="3009004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30" name="Espace réservé du texte 18">
            <a:extLst>
              <a:ext uri="{FF2B5EF4-FFF2-40B4-BE49-F238E27FC236}">
                <a16:creationId xmlns="" xmlns:a16="http://schemas.microsoft.com/office/drawing/2014/main" id="{327E2D15-CF8C-0343-9A58-8FE5C4B34B3F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7243361" y="1628760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31" name="Connecteur droit 30">
            <a:extLst>
              <a:ext uri="{FF2B5EF4-FFF2-40B4-BE49-F238E27FC236}">
                <a16:creationId xmlns="" xmlns:a16="http://schemas.microsoft.com/office/drawing/2014/main" id="{4EF85911-CA5C-ED4D-8DDC-2C0F74218E88}"/>
              </a:ext>
            </a:extLst>
          </p:cNvPr>
          <p:cNvCxnSpPr/>
          <p:nvPr/>
        </p:nvCxnSpPr>
        <p:spPr>
          <a:xfrm flipH="1">
            <a:off x="7140736" y="1143866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Délai  31">
            <a:extLst>
              <a:ext uri="{FF2B5EF4-FFF2-40B4-BE49-F238E27FC236}">
                <a16:creationId xmlns="" xmlns:a16="http://schemas.microsoft.com/office/drawing/2014/main" id="{96411E85-DC7C-644A-A883-B1EDC4C1AA18}"/>
              </a:ext>
            </a:extLst>
          </p:cNvPr>
          <p:cNvSpPr/>
          <p:nvPr/>
        </p:nvSpPr>
        <p:spPr>
          <a:xfrm>
            <a:off x="7222836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33" name="Délai  32">
            <a:extLst>
              <a:ext uri="{FF2B5EF4-FFF2-40B4-BE49-F238E27FC236}">
                <a16:creationId xmlns="" xmlns:a16="http://schemas.microsoft.com/office/drawing/2014/main" id="{B297BA38-235D-9B43-B51D-A00E374F2F2E}"/>
              </a:ext>
            </a:extLst>
          </p:cNvPr>
          <p:cNvSpPr/>
          <p:nvPr/>
        </p:nvSpPr>
        <p:spPr>
          <a:xfrm>
            <a:off x="7516347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34" name="Délai  33">
            <a:extLst>
              <a:ext uri="{FF2B5EF4-FFF2-40B4-BE49-F238E27FC236}">
                <a16:creationId xmlns="" xmlns:a16="http://schemas.microsoft.com/office/drawing/2014/main" id="{B76BAC1D-191A-1C43-B0C4-B133F6FCD15A}"/>
              </a:ext>
            </a:extLst>
          </p:cNvPr>
          <p:cNvSpPr/>
          <p:nvPr/>
        </p:nvSpPr>
        <p:spPr>
          <a:xfrm>
            <a:off x="7809857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35" name="Délai  34">
            <a:extLst>
              <a:ext uri="{FF2B5EF4-FFF2-40B4-BE49-F238E27FC236}">
                <a16:creationId xmlns="" xmlns:a16="http://schemas.microsoft.com/office/drawing/2014/main" id="{C2EDF2B0-A696-AB42-99A1-08FEE26F0789}"/>
              </a:ext>
            </a:extLst>
          </p:cNvPr>
          <p:cNvSpPr/>
          <p:nvPr/>
        </p:nvSpPr>
        <p:spPr>
          <a:xfrm>
            <a:off x="8103369" y="2998741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36" name="Espace réservé du texte 18">
            <a:extLst>
              <a:ext uri="{FF2B5EF4-FFF2-40B4-BE49-F238E27FC236}">
                <a16:creationId xmlns="" xmlns:a16="http://schemas.microsoft.com/office/drawing/2014/main" id="{B3976FDC-07F0-1146-964B-AED2162352B0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8803280" y="1628761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37" name="Connecteur droit 36">
            <a:extLst>
              <a:ext uri="{FF2B5EF4-FFF2-40B4-BE49-F238E27FC236}">
                <a16:creationId xmlns="" xmlns:a16="http://schemas.microsoft.com/office/drawing/2014/main" id="{E6177165-529C-8E42-BC34-4D32351DBEFB}"/>
              </a:ext>
            </a:extLst>
          </p:cNvPr>
          <p:cNvCxnSpPr/>
          <p:nvPr/>
        </p:nvCxnSpPr>
        <p:spPr>
          <a:xfrm flipH="1">
            <a:off x="8700655" y="1143867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Délai  37">
            <a:extLst>
              <a:ext uri="{FF2B5EF4-FFF2-40B4-BE49-F238E27FC236}">
                <a16:creationId xmlns="" xmlns:a16="http://schemas.microsoft.com/office/drawing/2014/main" id="{1BEB231F-EA08-2243-A630-DB33AADF109D}"/>
              </a:ext>
            </a:extLst>
          </p:cNvPr>
          <p:cNvSpPr/>
          <p:nvPr/>
        </p:nvSpPr>
        <p:spPr>
          <a:xfrm>
            <a:off x="8782755" y="2998742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39" name="Délai  38">
            <a:extLst>
              <a:ext uri="{FF2B5EF4-FFF2-40B4-BE49-F238E27FC236}">
                <a16:creationId xmlns="" xmlns:a16="http://schemas.microsoft.com/office/drawing/2014/main" id="{A3A8B9A9-4252-6142-BB27-B1FF20002A66}"/>
              </a:ext>
            </a:extLst>
          </p:cNvPr>
          <p:cNvSpPr/>
          <p:nvPr/>
        </p:nvSpPr>
        <p:spPr>
          <a:xfrm>
            <a:off x="9076265" y="2998742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40" name="Délai  39">
            <a:extLst>
              <a:ext uri="{FF2B5EF4-FFF2-40B4-BE49-F238E27FC236}">
                <a16:creationId xmlns="" xmlns:a16="http://schemas.microsoft.com/office/drawing/2014/main" id="{61F7B588-AF76-3D44-A596-1A062D2AC236}"/>
              </a:ext>
            </a:extLst>
          </p:cNvPr>
          <p:cNvSpPr/>
          <p:nvPr/>
        </p:nvSpPr>
        <p:spPr>
          <a:xfrm>
            <a:off x="9369776" y="2998742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41" name="Délai  40">
            <a:extLst>
              <a:ext uri="{FF2B5EF4-FFF2-40B4-BE49-F238E27FC236}">
                <a16:creationId xmlns="" xmlns:a16="http://schemas.microsoft.com/office/drawing/2014/main" id="{A781EAD8-A4D7-9A4E-BF93-0D1C487D57DF}"/>
              </a:ext>
            </a:extLst>
          </p:cNvPr>
          <p:cNvSpPr/>
          <p:nvPr/>
        </p:nvSpPr>
        <p:spPr>
          <a:xfrm>
            <a:off x="9663288" y="2998742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42" name="Espace réservé du texte 18">
            <a:extLst>
              <a:ext uri="{FF2B5EF4-FFF2-40B4-BE49-F238E27FC236}">
                <a16:creationId xmlns="" xmlns:a16="http://schemas.microsoft.com/office/drawing/2014/main" id="{9F7FC5B1-8278-2642-9C0D-5FA83030561A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0393987" y="1618499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43" name="Connecteur droit 42">
            <a:extLst>
              <a:ext uri="{FF2B5EF4-FFF2-40B4-BE49-F238E27FC236}">
                <a16:creationId xmlns="" xmlns:a16="http://schemas.microsoft.com/office/drawing/2014/main" id="{FF812E9A-A13B-274E-8A4D-6F39760040E1}"/>
              </a:ext>
            </a:extLst>
          </p:cNvPr>
          <p:cNvCxnSpPr/>
          <p:nvPr/>
        </p:nvCxnSpPr>
        <p:spPr>
          <a:xfrm flipH="1">
            <a:off x="10291361" y="1133605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Délai  43">
            <a:extLst>
              <a:ext uri="{FF2B5EF4-FFF2-40B4-BE49-F238E27FC236}">
                <a16:creationId xmlns="" xmlns:a16="http://schemas.microsoft.com/office/drawing/2014/main" id="{248F7112-2E2E-5145-ADE7-6CA09779A06E}"/>
              </a:ext>
            </a:extLst>
          </p:cNvPr>
          <p:cNvSpPr/>
          <p:nvPr/>
        </p:nvSpPr>
        <p:spPr>
          <a:xfrm>
            <a:off x="10373461" y="2988480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45" name="Délai  44">
            <a:extLst>
              <a:ext uri="{FF2B5EF4-FFF2-40B4-BE49-F238E27FC236}">
                <a16:creationId xmlns="" xmlns:a16="http://schemas.microsoft.com/office/drawing/2014/main" id="{7FFA7D98-6F99-8F4B-A90C-4165272B2BB9}"/>
              </a:ext>
            </a:extLst>
          </p:cNvPr>
          <p:cNvSpPr/>
          <p:nvPr/>
        </p:nvSpPr>
        <p:spPr>
          <a:xfrm>
            <a:off x="10666972" y="2988480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46" name="Délai  45">
            <a:extLst>
              <a:ext uri="{FF2B5EF4-FFF2-40B4-BE49-F238E27FC236}">
                <a16:creationId xmlns="" xmlns:a16="http://schemas.microsoft.com/office/drawing/2014/main" id="{CA30DC04-40EF-AB42-9F8B-27B245F8B22F}"/>
              </a:ext>
            </a:extLst>
          </p:cNvPr>
          <p:cNvSpPr/>
          <p:nvPr/>
        </p:nvSpPr>
        <p:spPr>
          <a:xfrm>
            <a:off x="10960483" y="2988480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47" name="Délai  46">
            <a:extLst>
              <a:ext uri="{FF2B5EF4-FFF2-40B4-BE49-F238E27FC236}">
                <a16:creationId xmlns="" xmlns:a16="http://schemas.microsoft.com/office/drawing/2014/main" id="{2FCAAF50-D054-0840-9C90-D3A5A8462A67}"/>
              </a:ext>
            </a:extLst>
          </p:cNvPr>
          <p:cNvSpPr/>
          <p:nvPr/>
        </p:nvSpPr>
        <p:spPr>
          <a:xfrm>
            <a:off x="11253995" y="2988480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48" name="Espace réservé du texte 18">
            <a:extLst>
              <a:ext uri="{FF2B5EF4-FFF2-40B4-BE49-F238E27FC236}">
                <a16:creationId xmlns="" xmlns:a16="http://schemas.microsoft.com/office/drawing/2014/main" id="{774F82A6-4918-0348-9FED-CD1559F9D299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80532" y="4368883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49" name="Connecteur droit 48">
            <a:extLst>
              <a:ext uri="{FF2B5EF4-FFF2-40B4-BE49-F238E27FC236}">
                <a16:creationId xmlns="" xmlns:a16="http://schemas.microsoft.com/office/drawing/2014/main" id="{40B5474E-599A-244A-8B70-F78B86150D9C}"/>
              </a:ext>
            </a:extLst>
          </p:cNvPr>
          <p:cNvCxnSpPr/>
          <p:nvPr/>
        </p:nvCxnSpPr>
        <p:spPr>
          <a:xfrm flipH="1">
            <a:off x="777907" y="3883989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Délai  49">
            <a:extLst>
              <a:ext uri="{FF2B5EF4-FFF2-40B4-BE49-F238E27FC236}">
                <a16:creationId xmlns="" xmlns:a16="http://schemas.microsoft.com/office/drawing/2014/main" id="{E6CEEAE0-16B0-C444-9984-E7AFFFCFC1D4}"/>
              </a:ext>
            </a:extLst>
          </p:cNvPr>
          <p:cNvSpPr/>
          <p:nvPr/>
        </p:nvSpPr>
        <p:spPr>
          <a:xfrm>
            <a:off x="860007" y="5738864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51" name="Délai  50">
            <a:extLst>
              <a:ext uri="{FF2B5EF4-FFF2-40B4-BE49-F238E27FC236}">
                <a16:creationId xmlns="" xmlns:a16="http://schemas.microsoft.com/office/drawing/2014/main" id="{235E3491-93ED-7549-978B-77A8410926EA}"/>
              </a:ext>
            </a:extLst>
          </p:cNvPr>
          <p:cNvSpPr/>
          <p:nvPr/>
        </p:nvSpPr>
        <p:spPr>
          <a:xfrm>
            <a:off x="1153517" y="5738864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52" name="Délai  51">
            <a:extLst>
              <a:ext uri="{FF2B5EF4-FFF2-40B4-BE49-F238E27FC236}">
                <a16:creationId xmlns="" xmlns:a16="http://schemas.microsoft.com/office/drawing/2014/main" id="{FB215780-D0DD-E149-A159-347CDE6CD888}"/>
              </a:ext>
            </a:extLst>
          </p:cNvPr>
          <p:cNvSpPr/>
          <p:nvPr/>
        </p:nvSpPr>
        <p:spPr>
          <a:xfrm>
            <a:off x="1447028" y="5738864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53" name="Délai  52">
            <a:extLst>
              <a:ext uri="{FF2B5EF4-FFF2-40B4-BE49-F238E27FC236}">
                <a16:creationId xmlns="" xmlns:a16="http://schemas.microsoft.com/office/drawing/2014/main" id="{BF48769B-4E25-DE4E-B655-DB447604A7F4}"/>
              </a:ext>
            </a:extLst>
          </p:cNvPr>
          <p:cNvSpPr/>
          <p:nvPr/>
        </p:nvSpPr>
        <p:spPr>
          <a:xfrm>
            <a:off x="1740540" y="5738864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54" name="Espace réservé du texte 18">
            <a:extLst>
              <a:ext uri="{FF2B5EF4-FFF2-40B4-BE49-F238E27FC236}">
                <a16:creationId xmlns="" xmlns:a16="http://schemas.microsoft.com/office/drawing/2014/main" id="{2CA837A8-6D6F-B343-9A31-0256C0DE2F92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2499975" y="4346304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55" name="Connecteur droit 54">
            <a:extLst>
              <a:ext uri="{FF2B5EF4-FFF2-40B4-BE49-F238E27FC236}">
                <a16:creationId xmlns="" xmlns:a16="http://schemas.microsoft.com/office/drawing/2014/main" id="{1EC2C524-1380-B346-8D16-216B2F62C8BB}"/>
              </a:ext>
            </a:extLst>
          </p:cNvPr>
          <p:cNvCxnSpPr/>
          <p:nvPr/>
        </p:nvCxnSpPr>
        <p:spPr>
          <a:xfrm flipH="1">
            <a:off x="2397349" y="3861410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Délai  55">
            <a:extLst>
              <a:ext uri="{FF2B5EF4-FFF2-40B4-BE49-F238E27FC236}">
                <a16:creationId xmlns="" xmlns:a16="http://schemas.microsoft.com/office/drawing/2014/main" id="{E3103E46-BD3B-2546-BCF8-758A3F54DBF8}"/>
              </a:ext>
            </a:extLst>
          </p:cNvPr>
          <p:cNvSpPr/>
          <p:nvPr/>
        </p:nvSpPr>
        <p:spPr>
          <a:xfrm>
            <a:off x="2479449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57" name="Délai  56">
            <a:extLst>
              <a:ext uri="{FF2B5EF4-FFF2-40B4-BE49-F238E27FC236}">
                <a16:creationId xmlns="" xmlns:a16="http://schemas.microsoft.com/office/drawing/2014/main" id="{0B897A36-11F6-8C46-9CF3-450F13E4A325}"/>
              </a:ext>
            </a:extLst>
          </p:cNvPr>
          <p:cNvSpPr/>
          <p:nvPr/>
        </p:nvSpPr>
        <p:spPr>
          <a:xfrm>
            <a:off x="2772960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58" name="Délai  57">
            <a:extLst>
              <a:ext uri="{FF2B5EF4-FFF2-40B4-BE49-F238E27FC236}">
                <a16:creationId xmlns="" xmlns:a16="http://schemas.microsoft.com/office/drawing/2014/main" id="{26F9FCA0-6D37-914E-BD3A-600514B4ED4F}"/>
              </a:ext>
            </a:extLst>
          </p:cNvPr>
          <p:cNvSpPr/>
          <p:nvPr/>
        </p:nvSpPr>
        <p:spPr>
          <a:xfrm>
            <a:off x="3066470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59" name="Délai  58">
            <a:extLst>
              <a:ext uri="{FF2B5EF4-FFF2-40B4-BE49-F238E27FC236}">
                <a16:creationId xmlns="" xmlns:a16="http://schemas.microsoft.com/office/drawing/2014/main" id="{967620C7-0761-424A-8B53-220AFF89B906}"/>
              </a:ext>
            </a:extLst>
          </p:cNvPr>
          <p:cNvSpPr/>
          <p:nvPr/>
        </p:nvSpPr>
        <p:spPr>
          <a:xfrm>
            <a:off x="3359982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60" name="Espace réservé du texte 18">
            <a:extLst>
              <a:ext uri="{FF2B5EF4-FFF2-40B4-BE49-F238E27FC236}">
                <a16:creationId xmlns="" xmlns:a16="http://schemas.microsoft.com/office/drawing/2014/main" id="{9E23641D-A4B8-DA49-8605-A400390F2E09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090681" y="4346304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1" name="Connecteur droit 60">
            <a:extLst>
              <a:ext uri="{FF2B5EF4-FFF2-40B4-BE49-F238E27FC236}">
                <a16:creationId xmlns="" xmlns:a16="http://schemas.microsoft.com/office/drawing/2014/main" id="{C6D54527-787C-1D4B-A05A-DD93ED5A6F0B}"/>
              </a:ext>
            </a:extLst>
          </p:cNvPr>
          <p:cNvCxnSpPr/>
          <p:nvPr/>
        </p:nvCxnSpPr>
        <p:spPr>
          <a:xfrm flipH="1">
            <a:off x="3988056" y="3861410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Délai  61">
            <a:extLst>
              <a:ext uri="{FF2B5EF4-FFF2-40B4-BE49-F238E27FC236}">
                <a16:creationId xmlns="" xmlns:a16="http://schemas.microsoft.com/office/drawing/2014/main" id="{2071212F-51BB-1F48-95BF-5D6E1AD92D55}"/>
              </a:ext>
            </a:extLst>
          </p:cNvPr>
          <p:cNvSpPr/>
          <p:nvPr/>
        </p:nvSpPr>
        <p:spPr>
          <a:xfrm>
            <a:off x="4070156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63" name="Délai  62">
            <a:extLst>
              <a:ext uri="{FF2B5EF4-FFF2-40B4-BE49-F238E27FC236}">
                <a16:creationId xmlns="" xmlns:a16="http://schemas.microsoft.com/office/drawing/2014/main" id="{198432D8-A90B-564A-9033-AE7424D97560}"/>
              </a:ext>
            </a:extLst>
          </p:cNvPr>
          <p:cNvSpPr/>
          <p:nvPr/>
        </p:nvSpPr>
        <p:spPr>
          <a:xfrm>
            <a:off x="4363667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64" name="Délai  63">
            <a:extLst>
              <a:ext uri="{FF2B5EF4-FFF2-40B4-BE49-F238E27FC236}">
                <a16:creationId xmlns="" xmlns:a16="http://schemas.microsoft.com/office/drawing/2014/main" id="{483E5AC8-E1AA-0841-9BA4-6A83AAAD53A6}"/>
              </a:ext>
            </a:extLst>
          </p:cNvPr>
          <p:cNvSpPr/>
          <p:nvPr/>
        </p:nvSpPr>
        <p:spPr>
          <a:xfrm>
            <a:off x="4657177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65" name="Délai  64">
            <a:extLst>
              <a:ext uri="{FF2B5EF4-FFF2-40B4-BE49-F238E27FC236}">
                <a16:creationId xmlns="" xmlns:a16="http://schemas.microsoft.com/office/drawing/2014/main" id="{D95FCB7D-7B83-A748-825F-3C02897C7F5E}"/>
              </a:ext>
            </a:extLst>
          </p:cNvPr>
          <p:cNvSpPr/>
          <p:nvPr/>
        </p:nvSpPr>
        <p:spPr>
          <a:xfrm>
            <a:off x="4950689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66" name="Espace réservé du texte 18">
            <a:extLst>
              <a:ext uri="{FF2B5EF4-FFF2-40B4-BE49-F238E27FC236}">
                <a16:creationId xmlns="" xmlns:a16="http://schemas.microsoft.com/office/drawing/2014/main" id="{4603EAFB-A13C-CD4B-8052-9F0D16A9D0AB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60864" y="4356567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67" name="Connecteur droit 66">
            <a:extLst>
              <a:ext uri="{FF2B5EF4-FFF2-40B4-BE49-F238E27FC236}">
                <a16:creationId xmlns="" xmlns:a16="http://schemas.microsoft.com/office/drawing/2014/main" id="{3583E9AC-614A-0543-976E-F0735A05E06F}"/>
              </a:ext>
            </a:extLst>
          </p:cNvPr>
          <p:cNvCxnSpPr/>
          <p:nvPr/>
        </p:nvCxnSpPr>
        <p:spPr>
          <a:xfrm flipH="1">
            <a:off x="5558239" y="3871673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Délai  67">
            <a:extLst>
              <a:ext uri="{FF2B5EF4-FFF2-40B4-BE49-F238E27FC236}">
                <a16:creationId xmlns="" xmlns:a16="http://schemas.microsoft.com/office/drawing/2014/main" id="{581FB479-E9AB-AB40-BA79-4302D3D386B1}"/>
              </a:ext>
            </a:extLst>
          </p:cNvPr>
          <p:cNvSpPr/>
          <p:nvPr/>
        </p:nvSpPr>
        <p:spPr>
          <a:xfrm>
            <a:off x="5640339" y="5726548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69" name="Délai  68">
            <a:extLst>
              <a:ext uri="{FF2B5EF4-FFF2-40B4-BE49-F238E27FC236}">
                <a16:creationId xmlns="" xmlns:a16="http://schemas.microsoft.com/office/drawing/2014/main" id="{6BD46122-4115-9540-B5AA-B09F139F8B5E}"/>
              </a:ext>
            </a:extLst>
          </p:cNvPr>
          <p:cNvSpPr/>
          <p:nvPr/>
        </p:nvSpPr>
        <p:spPr>
          <a:xfrm>
            <a:off x="5933849" y="5726548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70" name="Délai  69">
            <a:extLst>
              <a:ext uri="{FF2B5EF4-FFF2-40B4-BE49-F238E27FC236}">
                <a16:creationId xmlns="" xmlns:a16="http://schemas.microsoft.com/office/drawing/2014/main" id="{585B8FD9-AA8A-0140-B7E1-1541CA121A5C}"/>
              </a:ext>
            </a:extLst>
          </p:cNvPr>
          <p:cNvSpPr/>
          <p:nvPr/>
        </p:nvSpPr>
        <p:spPr>
          <a:xfrm>
            <a:off x="6227360" y="5726548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71" name="Délai  70">
            <a:extLst>
              <a:ext uri="{FF2B5EF4-FFF2-40B4-BE49-F238E27FC236}">
                <a16:creationId xmlns="" xmlns:a16="http://schemas.microsoft.com/office/drawing/2014/main" id="{E4A1E512-16E1-2546-9316-CC3397E02188}"/>
              </a:ext>
            </a:extLst>
          </p:cNvPr>
          <p:cNvSpPr/>
          <p:nvPr/>
        </p:nvSpPr>
        <p:spPr>
          <a:xfrm>
            <a:off x="6520872" y="5726548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72" name="Espace réservé du texte 18">
            <a:extLst>
              <a:ext uri="{FF2B5EF4-FFF2-40B4-BE49-F238E27FC236}">
                <a16:creationId xmlns="" xmlns:a16="http://schemas.microsoft.com/office/drawing/2014/main" id="{3A981F63-3CBA-7149-BD95-F032DD7E04AC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7231045" y="4346304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73" name="Connecteur droit 72">
            <a:extLst>
              <a:ext uri="{FF2B5EF4-FFF2-40B4-BE49-F238E27FC236}">
                <a16:creationId xmlns="" xmlns:a16="http://schemas.microsoft.com/office/drawing/2014/main" id="{20C9F013-448D-304A-A791-9B7EFAF2AEE6}"/>
              </a:ext>
            </a:extLst>
          </p:cNvPr>
          <p:cNvCxnSpPr/>
          <p:nvPr/>
        </p:nvCxnSpPr>
        <p:spPr>
          <a:xfrm flipH="1">
            <a:off x="7128420" y="3861410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4" name="Délai  73">
            <a:extLst>
              <a:ext uri="{FF2B5EF4-FFF2-40B4-BE49-F238E27FC236}">
                <a16:creationId xmlns="" xmlns:a16="http://schemas.microsoft.com/office/drawing/2014/main" id="{CE47E357-F1A0-6B4F-A6D7-C99909C1ABCE}"/>
              </a:ext>
            </a:extLst>
          </p:cNvPr>
          <p:cNvSpPr/>
          <p:nvPr/>
        </p:nvSpPr>
        <p:spPr>
          <a:xfrm>
            <a:off x="7210520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75" name="Délai  74">
            <a:extLst>
              <a:ext uri="{FF2B5EF4-FFF2-40B4-BE49-F238E27FC236}">
                <a16:creationId xmlns="" xmlns:a16="http://schemas.microsoft.com/office/drawing/2014/main" id="{D6F69FEF-0401-A948-9B77-290D6687C6C0}"/>
              </a:ext>
            </a:extLst>
          </p:cNvPr>
          <p:cNvSpPr/>
          <p:nvPr/>
        </p:nvSpPr>
        <p:spPr>
          <a:xfrm>
            <a:off x="7504031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76" name="Délai  75">
            <a:extLst>
              <a:ext uri="{FF2B5EF4-FFF2-40B4-BE49-F238E27FC236}">
                <a16:creationId xmlns="" xmlns:a16="http://schemas.microsoft.com/office/drawing/2014/main" id="{13222F30-79B0-244E-A41B-FA2954F51F80}"/>
              </a:ext>
            </a:extLst>
          </p:cNvPr>
          <p:cNvSpPr/>
          <p:nvPr/>
        </p:nvSpPr>
        <p:spPr>
          <a:xfrm>
            <a:off x="7797541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77" name="Délai  76">
            <a:extLst>
              <a:ext uri="{FF2B5EF4-FFF2-40B4-BE49-F238E27FC236}">
                <a16:creationId xmlns="" xmlns:a16="http://schemas.microsoft.com/office/drawing/2014/main" id="{EF326588-ED8B-2C48-8954-DD2FB0806CFA}"/>
              </a:ext>
            </a:extLst>
          </p:cNvPr>
          <p:cNvSpPr/>
          <p:nvPr/>
        </p:nvSpPr>
        <p:spPr>
          <a:xfrm>
            <a:off x="8091053" y="5716285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78" name="Espace réservé du texte 18">
            <a:extLst>
              <a:ext uri="{FF2B5EF4-FFF2-40B4-BE49-F238E27FC236}">
                <a16:creationId xmlns="" xmlns:a16="http://schemas.microsoft.com/office/drawing/2014/main" id="{B8B291C5-8CCB-A346-A626-6A0D753C264D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>
          <a:xfrm>
            <a:off x="8790964" y="4346305"/>
            <a:ext cx="1210992" cy="1324824"/>
          </a:xfrm>
        </p:spPr>
        <p:txBody>
          <a:bodyPr/>
          <a:lstStyle>
            <a:lvl1pPr>
              <a:spcBef>
                <a:spcPts val="133"/>
              </a:spcBef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79" name="Connecteur droit 78">
            <a:extLst>
              <a:ext uri="{FF2B5EF4-FFF2-40B4-BE49-F238E27FC236}">
                <a16:creationId xmlns="" xmlns:a16="http://schemas.microsoft.com/office/drawing/2014/main" id="{10A644D3-02A4-E340-B5CC-A43B9FD90342}"/>
              </a:ext>
            </a:extLst>
          </p:cNvPr>
          <p:cNvCxnSpPr/>
          <p:nvPr/>
        </p:nvCxnSpPr>
        <p:spPr>
          <a:xfrm flipH="1">
            <a:off x="8688339" y="3861411"/>
            <a:ext cx="2568" cy="2097071"/>
          </a:xfrm>
          <a:prstGeom prst="line">
            <a:avLst/>
          </a:prstGeom>
          <a:ln>
            <a:solidFill>
              <a:schemeClr val="accent6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Délai  79">
            <a:extLst>
              <a:ext uri="{FF2B5EF4-FFF2-40B4-BE49-F238E27FC236}">
                <a16:creationId xmlns="" xmlns:a16="http://schemas.microsoft.com/office/drawing/2014/main" id="{823112E8-B94C-8740-8720-CC1539914B6F}"/>
              </a:ext>
            </a:extLst>
          </p:cNvPr>
          <p:cNvSpPr/>
          <p:nvPr/>
        </p:nvSpPr>
        <p:spPr>
          <a:xfrm>
            <a:off x="8770439" y="5716286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A</a:t>
            </a:r>
          </a:p>
        </p:txBody>
      </p:sp>
      <p:sp>
        <p:nvSpPr>
          <p:cNvPr id="81" name="Délai  80">
            <a:extLst>
              <a:ext uri="{FF2B5EF4-FFF2-40B4-BE49-F238E27FC236}">
                <a16:creationId xmlns="" xmlns:a16="http://schemas.microsoft.com/office/drawing/2014/main" id="{CC28B3CB-2850-E649-8F7F-5B8E9EF9968D}"/>
              </a:ext>
            </a:extLst>
          </p:cNvPr>
          <p:cNvSpPr/>
          <p:nvPr/>
        </p:nvSpPr>
        <p:spPr>
          <a:xfrm>
            <a:off x="9063949" y="5716286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B</a:t>
            </a:r>
          </a:p>
        </p:txBody>
      </p:sp>
      <p:sp>
        <p:nvSpPr>
          <p:cNvPr id="82" name="Délai  81">
            <a:extLst>
              <a:ext uri="{FF2B5EF4-FFF2-40B4-BE49-F238E27FC236}">
                <a16:creationId xmlns="" xmlns:a16="http://schemas.microsoft.com/office/drawing/2014/main" id="{5EDCD9FF-01AF-094A-9079-BA22D89F82A6}"/>
              </a:ext>
            </a:extLst>
          </p:cNvPr>
          <p:cNvSpPr/>
          <p:nvPr/>
        </p:nvSpPr>
        <p:spPr>
          <a:xfrm>
            <a:off x="9357460" y="5716286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C</a:t>
            </a:r>
          </a:p>
        </p:txBody>
      </p:sp>
      <p:sp>
        <p:nvSpPr>
          <p:cNvPr id="83" name="Délai  82">
            <a:extLst>
              <a:ext uri="{FF2B5EF4-FFF2-40B4-BE49-F238E27FC236}">
                <a16:creationId xmlns="" xmlns:a16="http://schemas.microsoft.com/office/drawing/2014/main" id="{501D12D2-2039-0D41-AD9B-E968BA214B76}"/>
              </a:ext>
            </a:extLst>
          </p:cNvPr>
          <p:cNvSpPr/>
          <p:nvPr/>
        </p:nvSpPr>
        <p:spPr>
          <a:xfrm>
            <a:off x="9650972" y="5716286"/>
            <a:ext cx="215515" cy="225777"/>
          </a:xfrm>
          <a:prstGeom prst="flowChartDelay">
            <a:avLst/>
          </a:pr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323748"/>
                </a:solidFill>
              </a:rPr>
              <a:t>D</a:t>
            </a:r>
          </a:p>
        </p:txBody>
      </p:sp>
      <p:sp>
        <p:nvSpPr>
          <p:cNvPr id="84" name="Délai  83">
            <a:extLst>
              <a:ext uri="{FF2B5EF4-FFF2-40B4-BE49-F238E27FC236}">
                <a16:creationId xmlns="" xmlns:a16="http://schemas.microsoft.com/office/drawing/2014/main" id="{4663D346-3493-BE4C-8107-93B554C44E04}"/>
              </a:ext>
            </a:extLst>
          </p:cNvPr>
          <p:cNvSpPr/>
          <p:nvPr/>
        </p:nvSpPr>
        <p:spPr>
          <a:xfrm>
            <a:off x="11623449" y="4258993"/>
            <a:ext cx="215515" cy="225777"/>
          </a:xfrm>
          <a:prstGeom prst="flowChartDelay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FFFFFF"/>
                </a:solidFill>
              </a:rPr>
              <a:t>A</a:t>
            </a:r>
          </a:p>
        </p:txBody>
      </p:sp>
      <p:sp>
        <p:nvSpPr>
          <p:cNvPr id="85" name="Délai  84">
            <a:extLst>
              <a:ext uri="{FF2B5EF4-FFF2-40B4-BE49-F238E27FC236}">
                <a16:creationId xmlns="" xmlns:a16="http://schemas.microsoft.com/office/drawing/2014/main" id="{4FFB0671-4A3A-A646-B00B-CAD5528E5F4B}"/>
              </a:ext>
            </a:extLst>
          </p:cNvPr>
          <p:cNvSpPr/>
          <p:nvPr/>
        </p:nvSpPr>
        <p:spPr>
          <a:xfrm>
            <a:off x="11629607" y="4597660"/>
            <a:ext cx="215515" cy="225777"/>
          </a:xfrm>
          <a:prstGeom prst="flowChartDelay">
            <a:avLst/>
          </a:prstGeom>
          <a:solidFill>
            <a:schemeClr val="tx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FFFFFF"/>
                </a:solidFill>
              </a:rPr>
              <a:t>B</a:t>
            </a:r>
          </a:p>
        </p:txBody>
      </p:sp>
      <p:sp>
        <p:nvSpPr>
          <p:cNvPr id="86" name="Délai  85">
            <a:extLst>
              <a:ext uri="{FF2B5EF4-FFF2-40B4-BE49-F238E27FC236}">
                <a16:creationId xmlns="" xmlns:a16="http://schemas.microsoft.com/office/drawing/2014/main" id="{CB75BEAE-A86A-F44E-B47F-3E52DDA230C2}"/>
              </a:ext>
            </a:extLst>
          </p:cNvPr>
          <p:cNvSpPr/>
          <p:nvPr/>
        </p:nvSpPr>
        <p:spPr>
          <a:xfrm>
            <a:off x="11625500" y="4936326"/>
            <a:ext cx="215515" cy="225777"/>
          </a:xfrm>
          <a:prstGeom prst="flowChartDelay">
            <a:avLst/>
          </a:prstGeom>
          <a:solidFill>
            <a:schemeClr val="accent3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FFFFFF"/>
                </a:solidFill>
              </a:rPr>
              <a:t>C</a:t>
            </a:r>
          </a:p>
        </p:txBody>
      </p:sp>
      <p:sp>
        <p:nvSpPr>
          <p:cNvPr id="87" name="Délai  86">
            <a:extLst>
              <a:ext uri="{FF2B5EF4-FFF2-40B4-BE49-F238E27FC236}">
                <a16:creationId xmlns="" xmlns:a16="http://schemas.microsoft.com/office/drawing/2014/main" id="{CF3BC93F-F6EA-9741-BCEF-48F7762C5DA5}"/>
              </a:ext>
            </a:extLst>
          </p:cNvPr>
          <p:cNvSpPr/>
          <p:nvPr/>
        </p:nvSpPr>
        <p:spPr>
          <a:xfrm>
            <a:off x="11631659" y="5285256"/>
            <a:ext cx="215515" cy="225777"/>
          </a:xfrm>
          <a:prstGeom prst="flowChartDelay">
            <a:avLst/>
          </a:prstGeom>
          <a:solidFill>
            <a:srgbClr val="38ABAC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ctr"/>
          <a:lstStyle/>
          <a:p>
            <a:pPr algn="ctr"/>
            <a:r>
              <a:rPr lang="fr-FR" sz="800" b="1" dirty="0">
                <a:solidFill>
                  <a:srgbClr val="FFFFFF"/>
                </a:solidFill>
              </a:rPr>
              <a:t>D</a:t>
            </a:r>
          </a:p>
        </p:txBody>
      </p:sp>
      <p:sp>
        <p:nvSpPr>
          <p:cNvPr id="88" name="Espace réservé du texte 18">
            <a:extLst>
              <a:ext uri="{FF2B5EF4-FFF2-40B4-BE49-F238E27FC236}">
                <a16:creationId xmlns="" xmlns:a16="http://schemas.microsoft.com/office/drawing/2014/main" id="{12547110-13DB-EF4E-992D-1F5F16A1F8D9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10400146" y="4292940"/>
            <a:ext cx="1135047" cy="1324824"/>
          </a:xfrm>
        </p:spPr>
        <p:txBody>
          <a:bodyPr/>
          <a:lstStyle>
            <a:lvl1pPr algn="r">
              <a:spcBef>
                <a:spcPts val="133"/>
              </a:spcBef>
              <a:defRPr sz="800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9" name="Espace réservé de l’image 10">
            <a:extLst>
              <a:ext uri="{FF2B5EF4-FFF2-40B4-BE49-F238E27FC236}">
                <a16:creationId xmlns="" xmlns:a16="http://schemas.microsoft.com/office/drawing/2014/main" id="{5F66E168-EA96-544B-84D2-7A5A5049C0D4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 bwMode="gray">
          <a:xfrm>
            <a:off x="796074" y="1157824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0" name="Espace réservé de l’image 10">
            <a:extLst>
              <a:ext uri="{FF2B5EF4-FFF2-40B4-BE49-F238E27FC236}">
                <a16:creationId xmlns="" xmlns:a16="http://schemas.microsoft.com/office/drawing/2014/main" id="{43C1E646-AE0C-CD43-A427-8A133B9E1B55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 bwMode="gray">
          <a:xfrm>
            <a:off x="2415516" y="1155771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1" name="Espace réservé de l’image 10">
            <a:extLst>
              <a:ext uri="{FF2B5EF4-FFF2-40B4-BE49-F238E27FC236}">
                <a16:creationId xmlns="" xmlns:a16="http://schemas.microsoft.com/office/drawing/2014/main" id="{48EF1ADD-3385-1D4A-ADA1-22A5DC583EE3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 bwMode="gray">
          <a:xfrm>
            <a:off x="3985698" y="1155771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2" name="Espace réservé de l’image 10">
            <a:extLst>
              <a:ext uri="{FF2B5EF4-FFF2-40B4-BE49-F238E27FC236}">
                <a16:creationId xmlns="" xmlns:a16="http://schemas.microsoft.com/office/drawing/2014/main" id="{48C95197-E04A-5E43-9B17-3E6AA97F6C56}"/>
              </a:ext>
            </a:extLst>
          </p:cNvPr>
          <p:cNvSpPr>
            <a:spLocks noGrp="1"/>
          </p:cNvSpPr>
          <p:nvPr>
            <p:ph type="pic" sz="quarter" idx="56"/>
          </p:nvPr>
        </p:nvSpPr>
        <p:spPr bwMode="gray">
          <a:xfrm>
            <a:off x="5576404" y="1135247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3" name="Espace réservé de l’image 10">
            <a:extLst>
              <a:ext uri="{FF2B5EF4-FFF2-40B4-BE49-F238E27FC236}">
                <a16:creationId xmlns="" xmlns:a16="http://schemas.microsoft.com/office/drawing/2014/main" id="{F9BC3A60-148A-7147-8E5E-0668DBA64712}"/>
              </a:ext>
            </a:extLst>
          </p:cNvPr>
          <p:cNvSpPr>
            <a:spLocks noGrp="1"/>
          </p:cNvSpPr>
          <p:nvPr>
            <p:ph type="pic" sz="quarter" idx="57"/>
          </p:nvPr>
        </p:nvSpPr>
        <p:spPr bwMode="gray">
          <a:xfrm>
            <a:off x="7136324" y="1135247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4" name="Espace réservé de l’image 10">
            <a:extLst>
              <a:ext uri="{FF2B5EF4-FFF2-40B4-BE49-F238E27FC236}">
                <a16:creationId xmlns="" xmlns:a16="http://schemas.microsoft.com/office/drawing/2014/main" id="{EE71419C-4136-2740-8C24-C73E3BB71D22}"/>
              </a:ext>
            </a:extLst>
          </p:cNvPr>
          <p:cNvSpPr>
            <a:spLocks noGrp="1"/>
          </p:cNvSpPr>
          <p:nvPr>
            <p:ph type="pic" sz="quarter" idx="58"/>
          </p:nvPr>
        </p:nvSpPr>
        <p:spPr bwMode="gray">
          <a:xfrm>
            <a:off x="8716768" y="1135247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5" name="Espace réservé de l’image 10">
            <a:extLst>
              <a:ext uri="{FF2B5EF4-FFF2-40B4-BE49-F238E27FC236}">
                <a16:creationId xmlns="" xmlns:a16="http://schemas.microsoft.com/office/drawing/2014/main" id="{5E72285D-F64F-684B-B3F4-D613A09A435D}"/>
              </a:ext>
            </a:extLst>
          </p:cNvPr>
          <p:cNvSpPr>
            <a:spLocks noGrp="1"/>
          </p:cNvSpPr>
          <p:nvPr>
            <p:ph type="pic" sz="quarter" idx="59"/>
          </p:nvPr>
        </p:nvSpPr>
        <p:spPr bwMode="gray">
          <a:xfrm>
            <a:off x="10286951" y="1124984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6" name="Espace réservé de l’image 10">
            <a:extLst>
              <a:ext uri="{FF2B5EF4-FFF2-40B4-BE49-F238E27FC236}">
                <a16:creationId xmlns="" xmlns:a16="http://schemas.microsoft.com/office/drawing/2014/main" id="{62BEEC74-0B6C-D94A-9955-11802976BCF9}"/>
              </a:ext>
            </a:extLst>
          </p:cNvPr>
          <p:cNvSpPr>
            <a:spLocks noGrp="1"/>
          </p:cNvSpPr>
          <p:nvPr>
            <p:ph type="pic" sz="quarter" idx="60"/>
          </p:nvPr>
        </p:nvSpPr>
        <p:spPr bwMode="gray">
          <a:xfrm>
            <a:off x="773495" y="3875367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7" name="Espace réservé de l’image 10">
            <a:extLst>
              <a:ext uri="{FF2B5EF4-FFF2-40B4-BE49-F238E27FC236}">
                <a16:creationId xmlns="" xmlns:a16="http://schemas.microsoft.com/office/drawing/2014/main" id="{7D10E804-2026-5E47-8ADC-6830B78A7599}"/>
              </a:ext>
            </a:extLst>
          </p:cNvPr>
          <p:cNvSpPr>
            <a:spLocks noGrp="1"/>
          </p:cNvSpPr>
          <p:nvPr>
            <p:ph type="pic" sz="quarter" idx="61"/>
          </p:nvPr>
        </p:nvSpPr>
        <p:spPr bwMode="gray">
          <a:xfrm>
            <a:off x="2392938" y="3873313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8" name="Espace réservé de l’image 10">
            <a:extLst>
              <a:ext uri="{FF2B5EF4-FFF2-40B4-BE49-F238E27FC236}">
                <a16:creationId xmlns="" xmlns:a16="http://schemas.microsoft.com/office/drawing/2014/main" id="{8A78B418-CF61-8246-9A1D-3B65C463570D}"/>
              </a:ext>
            </a:extLst>
          </p:cNvPr>
          <p:cNvSpPr>
            <a:spLocks noGrp="1"/>
          </p:cNvSpPr>
          <p:nvPr>
            <p:ph type="pic" sz="quarter" idx="62"/>
          </p:nvPr>
        </p:nvSpPr>
        <p:spPr bwMode="gray">
          <a:xfrm>
            <a:off x="3963119" y="3873313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99" name="Espace réservé de l’image 10">
            <a:extLst>
              <a:ext uri="{FF2B5EF4-FFF2-40B4-BE49-F238E27FC236}">
                <a16:creationId xmlns="" xmlns:a16="http://schemas.microsoft.com/office/drawing/2014/main" id="{0E624D4F-595F-744C-87D7-7DDCFDB6E0F0}"/>
              </a:ext>
            </a:extLst>
          </p:cNvPr>
          <p:cNvSpPr>
            <a:spLocks noGrp="1"/>
          </p:cNvSpPr>
          <p:nvPr>
            <p:ph type="pic" sz="quarter" idx="63"/>
          </p:nvPr>
        </p:nvSpPr>
        <p:spPr bwMode="gray">
          <a:xfrm>
            <a:off x="5553826" y="3852789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00" name="Espace réservé de l’image 10">
            <a:extLst>
              <a:ext uri="{FF2B5EF4-FFF2-40B4-BE49-F238E27FC236}">
                <a16:creationId xmlns="" xmlns:a16="http://schemas.microsoft.com/office/drawing/2014/main" id="{8726B4D8-C1A4-044C-A45E-4130973D4D85}"/>
              </a:ext>
            </a:extLst>
          </p:cNvPr>
          <p:cNvSpPr>
            <a:spLocks noGrp="1"/>
          </p:cNvSpPr>
          <p:nvPr>
            <p:ph type="pic" sz="quarter" idx="64"/>
          </p:nvPr>
        </p:nvSpPr>
        <p:spPr bwMode="gray">
          <a:xfrm>
            <a:off x="7113746" y="3852789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01" name="Espace réservé de l’image 10">
            <a:extLst>
              <a:ext uri="{FF2B5EF4-FFF2-40B4-BE49-F238E27FC236}">
                <a16:creationId xmlns="" xmlns:a16="http://schemas.microsoft.com/office/drawing/2014/main" id="{174EE343-7B05-1D44-8B0D-643DF05B8C6F}"/>
              </a:ext>
            </a:extLst>
          </p:cNvPr>
          <p:cNvSpPr>
            <a:spLocks noGrp="1"/>
          </p:cNvSpPr>
          <p:nvPr>
            <p:ph type="pic" sz="quarter" idx="65"/>
          </p:nvPr>
        </p:nvSpPr>
        <p:spPr bwMode="gray">
          <a:xfrm>
            <a:off x="8694190" y="3852789"/>
            <a:ext cx="1379605" cy="463672"/>
          </a:xfrm>
          <a:custGeom>
            <a:avLst/>
            <a:gdLst>
              <a:gd name="connsiteX0" fmla="*/ 0 w 5208351"/>
              <a:gd name="connsiteY0" fmla="*/ 0 h 5164038"/>
              <a:gd name="connsiteX1" fmla="*/ 2604176 w 5208351"/>
              <a:gd name="connsiteY1" fmla="*/ 0 h 5164038"/>
              <a:gd name="connsiteX2" fmla="*/ 5208352 w 5208351"/>
              <a:gd name="connsiteY2" fmla="*/ 2582019 h 5164038"/>
              <a:gd name="connsiteX3" fmla="*/ 2604176 w 5208351"/>
              <a:gd name="connsiteY3" fmla="*/ 5164038 h 5164038"/>
              <a:gd name="connsiteX4" fmla="*/ 0 w 5208351"/>
              <a:gd name="connsiteY4" fmla="*/ 5164038 h 5164038"/>
              <a:gd name="connsiteX5" fmla="*/ 0 w 5208351"/>
              <a:gd name="connsiteY5" fmla="*/ 0 h 5164038"/>
              <a:gd name="connsiteX0" fmla="*/ 1013926 w 5208352"/>
              <a:gd name="connsiteY0" fmla="*/ 0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1013926 w 5208352"/>
              <a:gd name="connsiteY5" fmla="*/ 0 h 5164038"/>
              <a:gd name="connsiteX0" fmla="*/ 789991 w 5208352"/>
              <a:gd name="connsiteY0" fmla="*/ 12441 h 5164038"/>
              <a:gd name="connsiteX1" fmla="*/ 2604176 w 5208352"/>
              <a:gd name="connsiteY1" fmla="*/ 0 h 5164038"/>
              <a:gd name="connsiteX2" fmla="*/ 5208352 w 5208352"/>
              <a:gd name="connsiteY2" fmla="*/ 2582019 h 5164038"/>
              <a:gd name="connsiteX3" fmla="*/ 2604176 w 5208352"/>
              <a:gd name="connsiteY3" fmla="*/ 5164038 h 5164038"/>
              <a:gd name="connsiteX4" fmla="*/ 0 w 5208352"/>
              <a:gd name="connsiteY4" fmla="*/ 5164038 h 5164038"/>
              <a:gd name="connsiteX5" fmla="*/ 789991 w 5208352"/>
              <a:gd name="connsiteY5" fmla="*/ 12441 h 5164038"/>
              <a:gd name="connsiteX0" fmla="*/ 12440 w 4430801"/>
              <a:gd name="connsiteY0" fmla="*/ 12441 h 5164038"/>
              <a:gd name="connsiteX1" fmla="*/ 1826625 w 4430801"/>
              <a:gd name="connsiteY1" fmla="*/ 0 h 5164038"/>
              <a:gd name="connsiteX2" fmla="*/ 4430801 w 4430801"/>
              <a:gd name="connsiteY2" fmla="*/ 2582019 h 5164038"/>
              <a:gd name="connsiteX3" fmla="*/ 1826625 w 4430801"/>
              <a:gd name="connsiteY3" fmla="*/ 5164038 h 5164038"/>
              <a:gd name="connsiteX4" fmla="*/ 0 w 4430801"/>
              <a:gd name="connsiteY4" fmla="*/ 5157818 h 5164038"/>
              <a:gd name="connsiteX5" fmla="*/ 12440 w 4430801"/>
              <a:gd name="connsiteY5" fmla="*/ 1244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902 w 4435138"/>
              <a:gd name="connsiteY0" fmla="*/ 6091 h 5164038"/>
              <a:gd name="connsiteX1" fmla="*/ 1830962 w 4435138"/>
              <a:gd name="connsiteY1" fmla="*/ 0 h 5164038"/>
              <a:gd name="connsiteX2" fmla="*/ 4435138 w 4435138"/>
              <a:gd name="connsiteY2" fmla="*/ 2582019 h 5164038"/>
              <a:gd name="connsiteX3" fmla="*/ 1830962 w 4435138"/>
              <a:gd name="connsiteY3" fmla="*/ 5164038 h 5164038"/>
              <a:gd name="connsiteX4" fmla="*/ 4337 w 4435138"/>
              <a:gd name="connsiteY4" fmla="*/ 5157818 h 5164038"/>
              <a:gd name="connsiteX5" fmla="*/ 902 w 4435138"/>
              <a:gd name="connsiteY5" fmla="*/ 6091 h 5164038"/>
              <a:gd name="connsiteX0" fmla="*/ 12849284 w 17283520"/>
              <a:gd name="connsiteY0" fmla="*/ 6091 h 5189750"/>
              <a:gd name="connsiteX1" fmla="*/ 14679344 w 17283520"/>
              <a:gd name="connsiteY1" fmla="*/ 0 h 5189750"/>
              <a:gd name="connsiteX2" fmla="*/ 17283520 w 17283520"/>
              <a:gd name="connsiteY2" fmla="*/ 2582019 h 5189750"/>
              <a:gd name="connsiteX3" fmla="*/ 14679344 w 17283520"/>
              <a:gd name="connsiteY3" fmla="*/ 5164038 h 5189750"/>
              <a:gd name="connsiteX4" fmla="*/ 0 w 17283520"/>
              <a:gd name="connsiteY4" fmla="*/ 5189750 h 5189750"/>
              <a:gd name="connsiteX5" fmla="*/ 12849284 w 17283520"/>
              <a:gd name="connsiteY5" fmla="*/ 6091 h 5189750"/>
              <a:gd name="connsiteX0" fmla="*/ 901 w 17287857"/>
              <a:gd name="connsiteY0" fmla="*/ 22058 h 5189750"/>
              <a:gd name="connsiteX1" fmla="*/ 14683681 w 17287857"/>
              <a:gd name="connsiteY1" fmla="*/ 0 h 5189750"/>
              <a:gd name="connsiteX2" fmla="*/ 17287857 w 17287857"/>
              <a:gd name="connsiteY2" fmla="*/ 2582019 h 5189750"/>
              <a:gd name="connsiteX3" fmla="*/ 14683681 w 17287857"/>
              <a:gd name="connsiteY3" fmla="*/ 5164038 h 5189750"/>
              <a:gd name="connsiteX4" fmla="*/ 4337 w 17287857"/>
              <a:gd name="connsiteY4" fmla="*/ 5189750 h 5189750"/>
              <a:gd name="connsiteX5" fmla="*/ 901 w 17287857"/>
              <a:gd name="connsiteY5" fmla="*/ 22058 h 5189750"/>
              <a:gd name="connsiteX0" fmla="*/ 4796 w 17291752"/>
              <a:gd name="connsiteY0" fmla="*/ 22058 h 5165050"/>
              <a:gd name="connsiteX1" fmla="*/ 14687576 w 17291752"/>
              <a:gd name="connsiteY1" fmla="*/ 0 h 5165050"/>
              <a:gd name="connsiteX2" fmla="*/ 17291752 w 17291752"/>
              <a:gd name="connsiteY2" fmla="*/ 2582019 h 5165050"/>
              <a:gd name="connsiteX3" fmla="*/ 14687576 w 17291752"/>
              <a:gd name="connsiteY3" fmla="*/ 5164038 h 5165050"/>
              <a:gd name="connsiteX4" fmla="*/ 0 w 17291752"/>
              <a:gd name="connsiteY4" fmla="*/ 5165050 h 5165050"/>
              <a:gd name="connsiteX5" fmla="*/ 4796 w 17291752"/>
              <a:gd name="connsiteY5" fmla="*/ 22058 h 5165050"/>
              <a:gd name="connsiteX0" fmla="*/ 337 w 17319171"/>
              <a:gd name="connsiteY0" fmla="*/ 28433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8433 h 5165050"/>
              <a:gd name="connsiteX0" fmla="*/ 337 w 17319171"/>
              <a:gd name="connsiteY0" fmla="*/ 22058 h 5165050"/>
              <a:gd name="connsiteX1" fmla="*/ 14714995 w 17319171"/>
              <a:gd name="connsiteY1" fmla="*/ 0 h 5165050"/>
              <a:gd name="connsiteX2" fmla="*/ 17319171 w 17319171"/>
              <a:gd name="connsiteY2" fmla="*/ 2582019 h 5165050"/>
              <a:gd name="connsiteX3" fmla="*/ 14714995 w 17319171"/>
              <a:gd name="connsiteY3" fmla="*/ 5164038 h 5165050"/>
              <a:gd name="connsiteX4" fmla="*/ 27419 w 17319171"/>
              <a:gd name="connsiteY4" fmla="*/ 5165050 h 5165050"/>
              <a:gd name="connsiteX5" fmla="*/ 337 w 17319171"/>
              <a:gd name="connsiteY5" fmla="*/ 22058 h 5165050"/>
              <a:gd name="connsiteX0" fmla="*/ 273 w 17328426"/>
              <a:gd name="connsiteY0" fmla="*/ 3418 h 5165050"/>
              <a:gd name="connsiteX1" fmla="*/ 14724250 w 17328426"/>
              <a:gd name="connsiteY1" fmla="*/ 0 h 5165050"/>
              <a:gd name="connsiteX2" fmla="*/ 17328426 w 17328426"/>
              <a:gd name="connsiteY2" fmla="*/ 2582019 h 5165050"/>
              <a:gd name="connsiteX3" fmla="*/ 14724250 w 17328426"/>
              <a:gd name="connsiteY3" fmla="*/ 5164038 h 5165050"/>
              <a:gd name="connsiteX4" fmla="*/ 36674 w 17328426"/>
              <a:gd name="connsiteY4" fmla="*/ 5165050 h 5165050"/>
              <a:gd name="connsiteX5" fmla="*/ 273 w 17328426"/>
              <a:gd name="connsiteY5" fmla="*/ 3418 h 5165050"/>
              <a:gd name="connsiteX0" fmla="*/ 22041 w 17350194"/>
              <a:gd name="connsiteY0" fmla="*/ 3418 h 5165050"/>
              <a:gd name="connsiteX1" fmla="*/ 14746018 w 17350194"/>
              <a:gd name="connsiteY1" fmla="*/ 0 h 5165050"/>
              <a:gd name="connsiteX2" fmla="*/ 17350194 w 17350194"/>
              <a:gd name="connsiteY2" fmla="*/ 2582019 h 5165050"/>
              <a:gd name="connsiteX3" fmla="*/ 14746018 w 17350194"/>
              <a:gd name="connsiteY3" fmla="*/ 5164038 h 5165050"/>
              <a:gd name="connsiteX4" fmla="*/ 0 w 17350194"/>
              <a:gd name="connsiteY4" fmla="*/ 5165050 h 5165050"/>
              <a:gd name="connsiteX5" fmla="*/ 22041 w 17350194"/>
              <a:gd name="connsiteY5" fmla="*/ 3418 h 5165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350194" h="5165050">
                <a:moveTo>
                  <a:pt x="22041" y="3418"/>
                </a:moveTo>
                <a:lnTo>
                  <a:pt x="14746018" y="0"/>
                </a:lnTo>
                <a:cubicBezTo>
                  <a:pt x="16184265" y="0"/>
                  <a:pt x="17350194" y="1156009"/>
                  <a:pt x="17350194" y="2582019"/>
                </a:cubicBezTo>
                <a:cubicBezTo>
                  <a:pt x="17350194" y="4008029"/>
                  <a:pt x="16184265" y="5164038"/>
                  <a:pt x="14746018" y="5164038"/>
                </a:cubicBezTo>
                <a:lnTo>
                  <a:pt x="0" y="5165050"/>
                </a:lnTo>
                <a:cubicBezTo>
                  <a:pt x="4147" y="3449924"/>
                  <a:pt x="17894" y="1718544"/>
                  <a:pt x="22041" y="3418"/>
                </a:cubicBezTo>
                <a:close/>
              </a:path>
            </a:pathLst>
          </a:custGeom>
          <a:solidFill>
            <a:schemeClr val="accent6"/>
          </a:solidFill>
          <a:ln w="3175" cmpd="sng">
            <a:solidFill>
              <a:schemeClr val="accent4">
                <a:lumMod val="40000"/>
                <a:lumOff val="60000"/>
              </a:schemeClr>
            </a:solidFill>
          </a:ln>
          <a:effectLst>
            <a:outerShdw blurRad="38100" dist="25400" dir="2700000" algn="tl" rotWithShape="0">
              <a:schemeClr val="accent4">
                <a:alpha val="40000"/>
              </a:schemeClr>
            </a:outerShdw>
          </a:effectLst>
        </p:spPr>
        <p:txBody>
          <a:bodyPr/>
          <a:lstStyle>
            <a:lvl1pPr algn="ctr">
              <a:spcBef>
                <a:spcPts val="0"/>
              </a:spcBef>
              <a:defRPr sz="1067" b="0"/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102" name="Délai  3">
            <a:extLst>
              <a:ext uri="{FF2B5EF4-FFF2-40B4-BE49-F238E27FC236}">
                <a16:creationId xmlns="" xmlns:a16="http://schemas.microsoft.com/office/drawing/2014/main" id="{77F307B0-D87C-4D65-8060-2610519AE4EE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684695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ffre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élai  3">
            <a:extLst>
              <a:ext uri="{FF2B5EF4-FFF2-40B4-BE49-F238E27FC236}">
                <a16:creationId xmlns="" xmlns:a16="http://schemas.microsoft.com/office/drawing/2014/main" id="{BE722076-309D-CE48-AF9B-088475B5ECCE}"/>
              </a:ext>
            </a:extLst>
          </p:cNvPr>
          <p:cNvSpPr/>
          <p:nvPr/>
        </p:nvSpPr>
        <p:spPr>
          <a:xfrm rot="10800000" flipV="1">
            <a:off x="929993" y="832645"/>
            <a:ext cx="11285875" cy="105667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  <a:gd name="connsiteX0" fmla="*/ 356290 w 1510312"/>
              <a:gd name="connsiteY0" fmla="*/ 2806 h 620807"/>
              <a:gd name="connsiteX1" fmla="*/ 1203988 w 1510312"/>
              <a:gd name="connsiteY1" fmla="*/ 0 h 620807"/>
              <a:gd name="connsiteX2" fmla="*/ 1510312 w 1510312"/>
              <a:gd name="connsiteY2" fmla="*/ 306324 h 620807"/>
              <a:gd name="connsiteX3" fmla="*/ 1203988 w 1510312"/>
              <a:gd name="connsiteY3" fmla="*/ 612648 h 620807"/>
              <a:gd name="connsiteX4" fmla="*/ 0 w 1510312"/>
              <a:gd name="connsiteY4" fmla="*/ 620807 h 620807"/>
              <a:gd name="connsiteX5" fmla="*/ 356290 w 1510312"/>
              <a:gd name="connsiteY5" fmla="*/ 2806 h 620807"/>
              <a:gd name="connsiteX0" fmla="*/ 359676 w 1513698"/>
              <a:gd name="connsiteY0" fmla="*/ 2806 h 612648"/>
              <a:gd name="connsiteX1" fmla="*/ 1207374 w 1513698"/>
              <a:gd name="connsiteY1" fmla="*/ 0 h 612648"/>
              <a:gd name="connsiteX2" fmla="*/ 1513698 w 1513698"/>
              <a:gd name="connsiteY2" fmla="*/ 306324 h 612648"/>
              <a:gd name="connsiteX3" fmla="*/ 1207374 w 1513698"/>
              <a:gd name="connsiteY3" fmla="*/ 612648 h 612648"/>
              <a:gd name="connsiteX4" fmla="*/ 0 w 1513698"/>
              <a:gd name="connsiteY4" fmla="*/ 607253 h 612648"/>
              <a:gd name="connsiteX5" fmla="*/ 359676 w 1513698"/>
              <a:gd name="connsiteY5" fmla="*/ 2806 h 612648"/>
              <a:gd name="connsiteX0" fmla="*/ 35289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352898 w 1506920"/>
              <a:gd name="connsiteY5" fmla="*/ 2806 h 617418"/>
              <a:gd name="connsiteX0" fmla="*/ 50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508 w 1506920"/>
              <a:gd name="connsiteY5" fmla="*/ 2806 h 617418"/>
              <a:gd name="connsiteX0" fmla="*/ 5162473 w 6668885"/>
              <a:gd name="connsiteY0" fmla="*/ 2806 h 612648"/>
              <a:gd name="connsiteX1" fmla="*/ 6362561 w 6668885"/>
              <a:gd name="connsiteY1" fmla="*/ 0 h 612648"/>
              <a:gd name="connsiteX2" fmla="*/ 6668885 w 6668885"/>
              <a:gd name="connsiteY2" fmla="*/ 306324 h 612648"/>
              <a:gd name="connsiteX3" fmla="*/ 6362561 w 6668885"/>
              <a:gd name="connsiteY3" fmla="*/ 612648 h 612648"/>
              <a:gd name="connsiteX4" fmla="*/ 0 w 6668885"/>
              <a:gd name="connsiteY4" fmla="*/ 612411 h 612648"/>
              <a:gd name="connsiteX5" fmla="*/ 5162473 w 6668885"/>
              <a:gd name="connsiteY5" fmla="*/ 2806 h 612648"/>
              <a:gd name="connsiteX0" fmla="*/ 0 w 6678391"/>
              <a:gd name="connsiteY0" fmla="*/ 2806 h 612648"/>
              <a:gd name="connsiteX1" fmla="*/ 6372067 w 6678391"/>
              <a:gd name="connsiteY1" fmla="*/ 0 h 612648"/>
              <a:gd name="connsiteX2" fmla="*/ 6678391 w 6678391"/>
              <a:gd name="connsiteY2" fmla="*/ 306324 h 612648"/>
              <a:gd name="connsiteX3" fmla="*/ 6372067 w 6678391"/>
              <a:gd name="connsiteY3" fmla="*/ 612648 h 612648"/>
              <a:gd name="connsiteX4" fmla="*/ 9506 w 6678391"/>
              <a:gd name="connsiteY4" fmla="*/ 612411 h 612648"/>
              <a:gd name="connsiteX5" fmla="*/ 0 w 6678391"/>
              <a:gd name="connsiteY5" fmla="*/ 2806 h 612648"/>
              <a:gd name="connsiteX0" fmla="*/ 509 w 6668886"/>
              <a:gd name="connsiteY0" fmla="*/ 0 h 634876"/>
              <a:gd name="connsiteX1" fmla="*/ 6362562 w 6668886"/>
              <a:gd name="connsiteY1" fmla="*/ 22228 h 634876"/>
              <a:gd name="connsiteX2" fmla="*/ 6668886 w 6668886"/>
              <a:gd name="connsiteY2" fmla="*/ 328552 h 634876"/>
              <a:gd name="connsiteX3" fmla="*/ 6362562 w 6668886"/>
              <a:gd name="connsiteY3" fmla="*/ 634876 h 634876"/>
              <a:gd name="connsiteX4" fmla="*/ 1 w 6668886"/>
              <a:gd name="connsiteY4" fmla="*/ 634639 h 634876"/>
              <a:gd name="connsiteX5" fmla="*/ 509 w 6668886"/>
              <a:gd name="connsiteY5" fmla="*/ 0 h 634876"/>
              <a:gd name="connsiteX0" fmla="*/ 0 w 6673383"/>
              <a:gd name="connsiteY0" fmla="*/ 0 h 629869"/>
              <a:gd name="connsiteX1" fmla="*/ 6367059 w 6673383"/>
              <a:gd name="connsiteY1" fmla="*/ 17221 h 629869"/>
              <a:gd name="connsiteX2" fmla="*/ 6673383 w 6673383"/>
              <a:gd name="connsiteY2" fmla="*/ 323545 h 629869"/>
              <a:gd name="connsiteX3" fmla="*/ 6367059 w 6673383"/>
              <a:gd name="connsiteY3" fmla="*/ 629869 h 629869"/>
              <a:gd name="connsiteX4" fmla="*/ 4498 w 6673383"/>
              <a:gd name="connsiteY4" fmla="*/ 629632 h 629869"/>
              <a:gd name="connsiteX5" fmla="*/ 0 w 6673383"/>
              <a:gd name="connsiteY5" fmla="*/ 0 h 629869"/>
              <a:gd name="connsiteX0" fmla="*/ 0 w 6688403"/>
              <a:gd name="connsiteY0" fmla="*/ 0 h 619856"/>
              <a:gd name="connsiteX1" fmla="*/ 6382079 w 6688403"/>
              <a:gd name="connsiteY1" fmla="*/ 7208 h 619856"/>
              <a:gd name="connsiteX2" fmla="*/ 6688403 w 6688403"/>
              <a:gd name="connsiteY2" fmla="*/ 313532 h 619856"/>
              <a:gd name="connsiteX3" fmla="*/ 6382079 w 6688403"/>
              <a:gd name="connsiteY3" fmla="*/ 619856 h 619856"/>
              <a:gd name="connsiteX4" fmla="*/ 19518 w 6688403"/>
              <a:gd name="connsiteY4" fmla="*/ 619619 h 619856"/>
              <a:gd name="connsiteX5" fmla="*/ 0 w 6688403"/>
              <a:gd name="connsiteY5" fmla="*/ 0 h 619856"/>
              <a:gd name="connsiteX0" fmla="*/ 0 w 6673383"/>
              <a:gd name="connsiteY0" fmla="*/ 0 h 624863"/>
              <a:gd name="connsiteX1" fmla="*/ 6367059 w 6673383"/>
              <a:gd name="connsiteY1" fmla="*/ 12215 h 624863"/>
              <a:gd name="connsiteX2" fmla="*/ 6673383 w 6673383"/>
              <a:gd name="connsiteY2" fmla="*/ 318539 h 624863"/>
              <a:gd name="connsiteX3" fmla="*/ 6367059 w 6673383"/>
              <a:gd name="connsiteY3" fmla="*/ 624863 h 624863"/>
              <a:gd name="connsiteX4" fmla="*/ 4498 w 6673383"/>
              <a:gd name="connsiteY4" fmla="*/ 624626 h 624863"/>
              <a:gd name="connsiteX5" fmla="*/ 0 w 6673383"/>
              <a:gd name="connsiteY5" fmla="*/ 0 h 624863"/>
              <a:gd name="connsiteX0" fmla="*/ 509 w 6673892"/>
              <a:gd name="connsiteY0" fmla="*/ 0 h 624863"/>
              <a:gd name="connsiteX1" fmla="*/ 6367568 w 6673892"/>
              <a:gd name="connsiteY1" fmla="*/ 12215 h 624863"/>
              <a:gd name="connsiteX2" fmla="*/ 6673892 w 6673892"/>
              <a:gd name="connsiteY2" fmla="*/ 318539 h 624863"/>
              <a:gd name="connsiteX3" fmla="*/ 6367568 w 6673892"/>
              <a:gd name="connsiteY3" fmla="*/ 624863 h 624863"/>
              <a:gd name="connsiteX4" fmla="*/ 0 w 6673892"/>
              <a:gd name="connsiteY4" fmla="*/ 619619 h 624863"/>
              <a:gd name="connsiteX5" fmla="*/ 509 w 6673892"/>
              <a:gd name="connsiteY5" fmla="*/ 0 h 62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3892" h="624863">
                <a:moveTo>
                  <a:pt x="509" y="0"/>
                </a:moveTo>
                <a:lnTo>
                  <a:pt x="6367568" y="12215"/>
                </a:lnTo>
                <a:cubicBezTo>
                  <a:pt x="6536746" y="12215"/>
                  <a:pt x="6673892" y="149361"/>
                  <a:pt x="6673892" y="318539"/>
                </a:cubicBezTo>
                <a:cubicBezTo>
                  <a:pt x="6673892" y="487717"/>
                  <a:pt x="6536746" y="624863"/>
                  <a:pt x="6367568" y="624863"/>
                </a:cubicBezTo>
                <a:lnTo>
                  <a:pt x="0" y="619619"/>
                </a:lnTo>
                <a:cubicBezTo>
                  <a:pt x="-23" y="412136"/>
                  <a:pt x="532" y="207483"/>
                  <a:pt x="509" y="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28000" tIns="45720" rIns="4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2133" b="1" dirty="0">
                <a:solidFill>
                  <a:srgbClr val="FFFFFF"/>
                </a:solidFill>
              </a:rPr>
              <a:t>Enjeux</a:t>
            </a:r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824E0DCE-3D23-064E-9F25-C141C4A09C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7" name="Connecteur droit 6">
            <a:extLst>
              <a:ext uri="{FF2B5EF4-FFF2-40B4-BE49-F238E27FC236}">
                <a16:creationId xmlns="" xmlns:a16="http://schemas.microsoft.com/office/drawing/2014/main" id="{EB79F61C-16BC-F847-AA37-8BB89F3F2DA9}"/>
              </a:ext>
            </a:extLst>
          </p:cNvPr>
          <p:cNvCxnSpPr>
            <a:cxnSpLocks/>
          </p:cNvCxnSpPr>
          <p:nvPr/>
        </p:nvCxnSpPr>
        <p:spPr>
          <a:xfrm>
            <a:off x="8090485" y="3691607"/>
            <a:ext cx="3218936" cy="2939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Espace réservé du texte 20">
            <a:extLst>
              <a:ext uri="{FF2B5EF4-FFF2-40B4-BE49-F238E27FC236}">
                <a16:creationId xmlns="" xmlns:a16="http://schemas.microsoft.com/office/drawing/2014/main" id="{130E17D0-B70E-BE4A-A69B-AC553E4B82F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96834" y="3080187"/>
            <a:ext cx="3225380" cy="582083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9" name="Image 8">
            <a:extLst>
              <a:ext uri="{FF2B5EF4-FFF2-40B4-BE49-F238E27FC236}">
                <a16:creationId xmlns="" xmlns:a16="http://schemas.microsoft.com/office/drawing/2014/main" id="{97E4B044-223A-6B4E-9E16-EBC50A46607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84058" y="2250839"/>
            <a:ext cx="679148" cy="679148"/>
          </a:xfrm>
          <a:prstGeom prst="rect">
            <a:avLst/>
          </a:prstGeom>
        </p:spPr>
      </p:pic>
      <p:pic>
        <p:nvPicPr>
          <p:cNvPr id="10" name="Image 9">
            <a:extLst>
              <a:ext uri="{FF2B5EF4-FFF2-40B4-BE49-F238E27FC236}">
                <a16:creationId xmlns="" xmlns:a16="http://schemas.microsoft.com/office/drawing/2014/main" id="{9394C1A3-C71D-4A4E-87E1-E1809248414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19853" y="2149838"/>
            <a:ext cx="814620" cy="814620"/>
          </a:xfrm>
          <a:prstGeom prst="rect">
            <a:avLst/>
          </a:prstGeom>
        </p:spPr>
      </p:pic>
      <p:pic>
        <p:nvPicPr>
          <p:cNvPr id="11" name="Image 10">
            <a:extLst>
              <a:ext uri="{FF2B5EF4-FFF2-40B4-BE49-F238E27FC236}">
                <a16:creationId xmlns="" xmlns:a16="http://schemas.microsoft.com/office/drawing/2014/main" id="{5482EEFA-2FEF-C84A-BBE3-4983C9E2CDC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00329" y="2143064"/>
            <a:ext cx="818387" cy="818387"/>
          </a:xfrm>
          <a:prstGeom prst="rect">
            <a:avLst/>
          </a:prstGeom>
        </p:spPr>
      </p:pic>
      <p:cxnSp>
        <p:nvCxnSpPr>
          <p:cNvPr id="12" name="Connecteur droit 11">
            <a:extLst>
              <a:ext uri="{FF2B5EF4-FFF2-40B4-BE49-F238E27FC236}">
                <a16:creationId xmlns="" xmlns:a16="http://schemas.microsoft.com/office/drawing/2014/main" id="{DFF940B0-B612-674C-8E38-D8026B40EEE2}"/>
              </a:ext>
            </a:extLst>
          </p:cNvPr>
          <p:cNvCxnSpPr>
            <a:cxnSpLocks/>
          </p:cNvCxnSpPr>
          <p:nvPr/>
        </p:nvCxnSpPr>
        <p:spPr>
          <a:xfrm>
            <a:off x="4527301" y="3689555"/>
            <a:ext cx="3218936" cy="2939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20">
            <a:extLst>
              <a:ext uri="{FF2B5EF4-FFF2-40B4-BE49-F238E27FC236}">
                <a16:creationId xmlns="" xmlns:a16="http://schemas.microsoft.com/office/drawing/2014/main" id="{96DAD066-9E31-CB42-92AC-940B165E824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14473" y="3078135"/>
            <a:ext cx="3225380" cy="582083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="" xmlns:a16="http://schemas.microsoft.com/office/drawing/2014/main" id="{91485A32-BB5C-DA44-B751-22665D720AE0}"/>
              </a:ext>
            </a:extLst>
          </p:cNvPr>
          <p:cNvCxnSpPr>
            <a:cxnSpLocks/>
          </p:cNvCxnSpPr>
          <p:nvPr/>
        </p:nvCxnSpPr>
        <p:spPr>
          <a:xfrm>
            <a:off x="904593" y="3710080"/>
            <a:ext cx="3218936" cy="2939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texte 20">
            <a:extLst>
              <a:ext uri="{FF2B5EF4-FFF2-40B4-BE49-F238E27FC236}">
                <a16:creationId xmlns="" xmlns:a16="http://schemas.microsoft.com/office/drawing/2014/main" id="{4FAC80F2-F0F6-F144-93F3-BA80CB66862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942" y="3098660"/>
            <a:ext cx="3225380" cy="582083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12">
            <a:extLst>
              <a:ext uri="{FF2B5EF4-FFF2-40B4-BE49-F238E27FC236}">
                <a16:creationId xmlns="" xmlns:a16="http://schemas.microsoft.com/office/drawing/2014/main" id="{4775FAF2-DB51-DF4E-B272-A4A417D076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06127" y="3756121"/>
            <a:ext cx="3209187" cy="2267849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7" name="Espace réservé du texte 12">
            <a:extLst>
              <a:ext uri="{FF2B5EF4-FFF2-40B4-BE49-F238E27FC236}">
                <a16:creationId xmlns="" xmlns:a16="http://schemas.microsoft.com/office/drawing/2014/main" id="{4E475C33-737A-6546-997C-1A2F2C6B0BA3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537044" y="3754069"/>
            <a:ext cx="3209187" cy="2267849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8" name="Espace réservé du texte 12">
            <a:extLst>
              <a:ext uri="{FF2B5EF4-FFF2-40B4-BE49-F238E27FC236}">
                <a16:creationId xmlns="" xmlns:a16="http://schemas.microsoft.com/office/drawing/2014/main" id="{81D3F971-2722-5F49-9BB2-E518F2CC2C8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118701" y="3754069"/>
            <a:ext cx="3209187" cy="2267849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9" name="Espace réservé du texte 12">
            <a:extLst>
              <a:ext uri="{FF2B5EF4-FFF2-40B4-BE49-F238E27FC236}">
                <a16:creationId xmlns="" xmlns:a16="http://schemas.microsoft.com/office/drawing/2014/main" id="{10C596CF-1BE0-9345-9FB3-EDB377D6A81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699071" y="993422"/>
            <a:ext cx="8630868" cy="792276"/>
          </a:xfrm>
        </p:spPr>
        <p:txBody>
          <a:bodyPr/>
          <a:lstStyle>
            <a:lvl1pPr>
              <a:defRPr sz="1067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Modifier les styles du texte du masque
</a:t>
            </a:r>
          </a:p>
        </p:txBody>
      </p:sp>
      <p:sp>
        <p:nvSpPr>
          <p:cNvPr id="20" name="Délai  3">
            <a:extLst>
              <a:ext uri="{FF2B5EF4-FFF2-40B4-BE49-F238E27FC236}">
                <a16:creationId xmlns="" xmlns:a16="http://schemas.microsoft.com/office/drawing/2014/main" id="{041BF93C-51C2-4D68-980D-0B05BE049537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579683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ffre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élai  3">
            <a:extLst>
              <a:ext uri="{FF2B5EF4-FFF2-40B4-BE49-F238E27FC236}">
                <a16:creationId xmlns="" xmlns:a16="http://schemas.microsoft.com/office/drawing/2014/main" id="{A8F896A4-BB2B-A340-952E-F9738B7D10FD}"/>
              </a:ext>
            </a:extLst>
          </p:cNvPr>
          <p:cNvSpPr/>
          <p:nvPr/>
        </p:nvSpPr>
        <p:spPr>
          <a:xfrm rot="10800000" flipV="1">
            <a:off x="929993" y="832645"/>
            <a:ext cx="11285875" cy="105667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493527"/>
              <a:gd name="connsiteY0" fmla="*/ 0 h 619642"/>
              <a:gd name="connsiteX1" fmla="*/ 1187203 w 1493527"/>
              <a:gd name="connsiteY1" fmla="*/ 0 h 619642"/>
              <a:gd name="connsiteX2" fmla="*/ 1493527 w 1493527"/>
              <a:gd name="connsiteY2" fmla="*/ 306324 h 619642"/>
              <a:gd name="connsiteX3" fmla="*/ 1187203 w 1493527"/>
              <a:gd name="connsiteY3" fmla="*/ 612648 h 619642"/>
              <a:gd name="connsiteX4" fmla="*/ 345187 w 1493527"/>
              <a:gd name="connsiteY4" fmla="*/ 619642 h 619642"/>
              <a:gd name="connsiteX5" fmla="*/ 0 w 1493527"/>
              <a:gd name="connsiteY5" fmla="*/ 0 h 619642"/>
              <a:gd name="connsiteX0" fmla="*/ 0 w 1154022"/>
              <a:gd name="connsiteY0" fmla="*/ 2806 h 619642"/>
              <a:gd name="connsiteX1" fmla="*/ 847698 w 1154022"/>
              <a:gd name="connsiteY1" fmla="*/ 0 h 619642"/>
              <a:gd name="connsiteX2" fmla="*/ 1154022 w 1154022"/>
              <a:gd name="connsiteY2" fmla="*/ 306324 h 619642"/>
              <a:gd name="connsiteX3" fmla="*/ 847698 w 1154022"/>
              <a:gd name="connsiteY3" fmla="*/ 612648 h 619642"/>
              <a:gd name="connsiteX4" fmla="*/ 5682 w 1154022"/>
              <a:gd name="connsiteY4" fmla="*/ 619642 h 619642"/>
              <a:gd name="connsiteX5" fmla="*/ 0 w 1154022"/>
              <a:gd name="connsiteY5" fmla="*/ 2806 h 619642"/>
              <a:gd name="connsiteX0" fmla="*/ 0 w 1154022"/>
              <a:gd name="connsiteY0" fmla="*/ 2806 h 614030"/>
              <a:gd name="connsiteX1" fmla="*/ 847698 w 1154022"/>
              <a:gd name="connsiteY1" fmla="*/ 0 h 614030"/>
              <a:gd name="connsiteX2" fmla="*/ 1154022 w 1154022"/>
              <a:gd name="connsiteY2" fmla="*/ 306324 h 614030"/>
              <a:gd name="connsiteX3" fmla="*/ 847698 w 1154022"/>
              <a:gd name="connsiteY3" fmla="*/ 612648 h 614030"/>
              <a:gd name="connsiteX4" fmla="*/ 2879 w 1154022"/>
              <a:gd name="connsiteY4" fmla="*/ 614030 h 614030"/>
              <a:gd name="connsiteX5" fmla="*/ 0 w 1154022"/>
              <a:gd name="connsiteY5" fmla="*/ 2806 h 614030"/>
              <a:gd name="connsiteX0" fmla="*/ 356290 w 1510312"/>
              <a:gd name="connsiteY0" fmla="*/ 2806 h 620807"/>
              <a:gd name="connsiteX1" fmla="*/ 1203988 w 1510312"/>
              <a:gd name="connsiteY1" fmla="*/ 0 h 620807"/>
              <a:gd name="connsiteX2" fmla="*/ 1510312 w 1510312"/>
              <a:gd name="connsiteY2" fmla="*/ 306324 h 620807"/>
              <a:gd name="connsiteX3" fmla="*/ 1203988 w 1510312"/>
              <a:gd name="connsiteY3" fmla="*/ 612648 h 620807"/>
              <a:gd name="connsiteX4" fmla="*/ 0 w 1510312"/>
              <a:gd name="connsiteY4" fmla="*/ 620807 h 620807"/>
              <a:gd name="connsiteX5" fmla="*/ 356290 w 1510312"/>
              <a:gd name="connsiteY5" fmla="*/ 2806 h 620807"/>
              <a:gd name="connsiteX0" fmla="*/ 359676 w 1513698"/>
              <a:gd name="connsiteY0" fmla="*/ 2806 h 612648"/>
              <a:gd name="connsiteX1" fmla="*/ 1207374 w 1513698"/>
              <a:gd name="connsiteY1" fmla="*/ 0 h 612648"/>
              <a:gd name="connsiteX2" fmla="*/ 1513698 w 1513698"/>
              <a:gd name="connsiteY2" fmla="*/ 306324 h 612648"/>
              <a:gd name="connsiteX3" fmla="*/ 1207374 w 1513698"/>
              <a:gd name="connsiteY3" fmla="*/ 612648 h 612648"/>
              <a:gd name="connsiteX4" fmla="*/ 0 w 1513698"/>
              <a:gd name="connsiteY4" fmla="*/ 607253 h 612648"/>
              <a:gd name="connsiteX5" fmla="*/ 359676 w 1513698"/>
              <a:gd name="connsiteY5" fmla="*/ 2806 h 612648"/>
              <a:gd name="connsiteX0" fmla="*/ 35289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352898 w 1506920"/>
              <a:gd name="connsiteY5" fmla="*/ 2806 h 617418"/>
              <a:gd name="connsiteX0" fmla="*/ 508 w 1506920"/>
              <a:gd name="connsiteY0" fmla="*/ 2806 h 617418"/>
              <a:gd name="connsiteX1" fmla="*/ 1200596 w 1506920"/>
              <a:gd name="connsiteY1" fmla="*/ 0 h 617418"/>
              <a:gd name="connsiteX2" fmla="*/ 1506920 w 1506920"/>
              <a:gd name="connsiteY2" fmla="*/ 306324 h 617418"/>
              <a:gd name="connsiteX3" fmla="*/ 1200596 w 1506920"/>
              <a:gd name="connsiteY3" fmla="*/ 612648 h 617418"/>
              <a:gd name="connsiteX4" fmla="*/ 1 w 1506920"/>
              <a:gd name="connsiteY4" fmla="*/ 617418 h 617418"/>
              <a:gd name="connsiteX5" fmla="*/ 508 w 1506920"/>
              <a:gd name="connsiteY5" fmla="*/ 2806 h 617418"/>
              <a:gd name="connsiteX0" fmla="*/ 5162473 w 6668885"/>
              <a:gd name="connsiteY0" fmla="*/ 2806 h 612648"/>
              <a:gd name="connsiteX1" fmla="*/ 6362561 w 6668885"/>
              <a:gd name="connsiteY1" fmla="*/ 0 h 612648"/>
              <a:gd name="connsiteX2" fmla="*/ 6668885 w 6668885"/>
              <a:gd name="connsiteY2" fmla="*/ 306324 h 612648"/>
              <a:gd name="connsiteX3" fmla="*/ 6362561 w 6668885"/>
              <a:gd name="connsiteY3" fmla="*/ 612648 h 612648"/>
              <a:gd name="connsiteX4" fmla="*/ 0 w 6668885"/>
              <a:gd name="connsiteY4" fmla="*/ 612411 h 612648"/>
              <a:gd name="connsiteX5" fmla="*/ 5162473 w 6668885"/>
              <a:gd name="connsiteY5" fmla="*/ 2806 h 612648"/>
              <a:gd name="connsiteX0" fmla="*/ 0 w 6678391"/>
              <a:gd name="connsiteY0" fmla="*/ 2806 h 612648"/>
              <a:gd name="connsiteX1" fmla="*/ 6372067 w 6678391"/>
              <a:gd name="connsiteY1" fmla="*/ 0 h 612648"/>
              <a:gd name="connsiteX2" fmla="*/ 6678391 w 6678391"/>
              <a:gd name="connsiteY2" fmla="*/ 306324 h 612648"/>
              <a:gd name="connsiteX3" fmla="*/ 6372067 w 6678391"/>
              <a:gd name="connsiteY3" fmla="*/ 612648 h 612648"/>
              <a:gd name="connsiteX4" fmla="*/ 9506 w 6678391"/>
              <a:gd name="connsiteY4" fmla="*/ 612411 h 612648"/>
              <a:gd name="connsiteX5" fmla="*/ 0 w 6678391"/>
              <a:gd name="connsiteY5" fmla="*/ 2806 h 612648"/>
              <a:gd name="connsiteX0" fmla="*/ 509 w 6668886"/>
              <a:gd name="connsiteY0" fmla="*/ 0 h 634876"/>
              <a:gd name="connsiteX1" fmla="*/ 6362562 w 6668886"/>
              <a:gd name="connsiteY1" fmla="*/ 22228 h 634876"/>
              <a:gd name="connsiteX2" fmla="*/ 6668886 w 6668886"/>
              <a:gd name="connsiteY2" fmla="*/ 328552 h 634876"/>
              <a:gd name="connsiteX3" fmla="*/ 6362562 w 6668886"/>
              <a:gd name="connsiteY3" fmla="*/ 634876 h 634876"/>
              <a:gd name="connsiteX4" fmla="*/ 1 w 6668886"/>
              <a:gd name="connsiteY4" fmla="*/ 634639 h 634876"/>
              <a:gd name="connsiteX5" fmla="*/ 509 w 6668886"/>
              <a:gd name="connsiteY5" fmla="*/ 0 h 634876"/>
              <a:gd name="connsiteX0" fmla="*/ 0 w 6673383"/>
              <a:gd name="connsiteY0" fmla="*/ 0 h 629869"/>
              <a:gd name="connsiteX1" fmla="*/ 6367059 w 6673383"/>
              <a:gd name="connsiteY1" fmla="*/ 17221 h 629869"/>
              <a:gd name="connsiteX2" fmla="*/ 6673383 w 6673383"/>
              <a:gd name="connsiteY2" fmla="*/ 323545 h 629869"/>
              <a:gd name="connsiteX3" fmla="*/ 6367059 w 6673383"/>
              <a:gd name="connsiteY3" fmla="*/ 629869 h 629869"/>
              <a:gd name="connsiteX4" fmla="*/ 4498 w 6673383"/>
              <a:gd name="connsiteY4" fmla="*/ 629632 h 629869"/>
              <a:gd name="connsiteX5" fmla="*/ 0 w 6673383"/>
              <a:gd name="connsiteY5" fmla="*/ 0 h 629869"/>
              <a:gd name="connsiteX0" fmla="*/ 0 w 6688403"/>
              <a:gd name="connsiteY0" fmla="*/ 0 h 619856"/>
              <a:gd name="connsiteX1" fmla="*/ 6382079 w 6688403"/>
              <a:gd name="connsiteY1" fmla="*/ 7208 h 619856"/>
              <a:gd name="connsiteX2" fmla="*/ 6688403 w 6688403"/>
              <a:gd name="connsiteY2" fmla="*/ 313532 h 619856"/>
              <a:gd name="connsiteX3" fmla="*/ 6382079 w 6688403"/>
              <a:gd name="connsiteY3" fmla="*/ 619856 h 619856"/>
              <a:gd name="connsiteX4" fmla="*/ 19518 w 6688403"/>
              <a:gd name="connsiteY4" fmla="*/ 619619 h 619856"/>
              <a:gd name="connsiteX5" fmla="*/ 0 w 6688403"/>
              <a:gd name="connsiteY5" fmla="*/ 0 h 619856"/>
              <a:gd name="connsiteX0" fmla="*/ 0 w 6673383"/>
              <a:gd name="connsiteY0" fmla="*/ 0 h 624863"/>
              <a:gd name="connsiteX1" fmla="*/ 6367059 w 6673383"/>
              <a:gd name="connsiteY1" fmla="*/ 12215 h 624863"/>
              <a:gd name="connsiteX2" fmla="*/ 6673383 w 6673383"/>
              <a:gd name="connsiteY2" fmla="*/ 318539 h 624863"/>
              <a:gd name="connsiteX3" fmla="*/ 6367059 w 6673383"/>
              <a:gd name="connsiteY3" fmla="*/ 624863 h 624863"/>
              <a:gd name="connsiteX4" fmla="*/ 4498 w 6673383"/>
              <a:gd name="connsiteY4" fmla="*/ 624626 h 624863"/>
              <a:gd name="connsiteX5" fmla="*/ 0 w 6673383"/>
              <a:gd name="connsiteY5" fmla="*/ 0 h 624863"/>
              <a:gd name="connsiteX0" fmla="*/ 509 w 6673892"/>
              <a:gd name="connsiteY0" fmla="*/ 0 h 624863"/>
              <a:gd name="connsiteX1" fmla="*/ 6367568 w 6673892"/>
              <a:gd name="connsiteY1" fmla="*/ 12215 h 624863"/>
              <a:gd name="connsiteX2" fmla="*/ 6673892 w 6673892"/>
              <a:gd name="connsiteY2" fmla="*/ 318539 h 624863"/>
              <a:gd name="connsiteX3" fmla="*/ 6367568 w 6673892"/>
              <a:gd name="connsiteY3" fmla="*/ 624863 h 624863"/>
              <a:gd name="connsiteX4" fmla="*/ 0 w 6673892"/>
              <a:gd name="connsiteY4" fmla="*/ 619619 h 624863"/>
              <a:gd name="connsiteX5" fmla="*/ 509 w 6673892"/>
              <a:gd name="connsiteY5" fmla="*/ 0 h 6248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73892" h="624863">
                <a:moveTo>
                  <a:pt x="509" y="0"/>
                </a:moveTo>
                <a:lnTo>
                  <a:pt x="6367568" y="12215"/>
                </a:lnTo>
                <a:cubicBezTo>
                  <a:pt x="6536746" y="12215"/>
                  <a:pt x="6673892" y="149361"/>
                  <a:pt x="6673892" y="318539"/>
                </a:cubicBezTo>
                <a:cubicBezTo>
                  <a:pt x="6673892" y="487717"/>
                  <a:pt x="6536746" y="624863"/>
                  <a:pt x="6367568" y="624863"/>
                </a:cubicBezTo>
                <a:lnTo>
                  <a:pt x="0" y="619619"/>
                </a:lnTo>
                <a:cubicBezTo>
                  <a:pt x="-23" y="412136"/>
                  <a:pt x="532" y="207483"/>
                  <a:pt x="509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28000" tIns="45720" rIns="48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fr-FR" sz="2133" b="1" dirty="0">
                <a:solidFill>
                  <a:srgbClr val="59108D"/>
                </a:solidFill>
              </a:rPr>
              <a:t>Enjeux</a:t>
            </a:r>
          </a:p>
        </p:txBody>
      </p:sp>
      <p:sp>
        <p:nvSpPr>
          <p:cNvPr id="2" name="Titre 1">
            <a:extLst>
              <a:ext uri="{FF2B5EF4-FFF2-40B4-BE49-F238E27FC236}">
                <a16:creationId xmlns="" xmlns:a16="http://schemas.microsoft.com/office/drawing/2014/main" id="{D47441B6-941C-254C-B9AA-9AC89F82DF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16265" y="209821"/>
            <a:ext cx="10560820" cy="434871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cxnSp>
        <p:nvCxnSpPr>
          <p:cNvPr id="9" name="Connecteur droit 8">
            <a:extLst>
              <a:ext uri="{FF2B5EF4-FFF2-40B4-BE49-F238E27FC236}">
                <a16:creationId xmlns="" xmlns:a16="http://schemas.microsoft.com/office/drawing/2014/main" id="{D92B55A4-14D7-EF46-9C17-4443C4587951}"/>
              </a:ext>
            </a:extLst>
          </p:cNvPr>
          <p:cNvCxnSpPr>
            <a:cxnSpLocks/>
          </p:cNvCxnSpPr>
          <p:nvPr/>
        </p:nvCxnSpPr>
        <p:spPr>
          <a:xfrm>
            <a:off x="2271563" y="3623269"/>
            <a:ext cx="2372783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20">
            <a:extLst>
              <a:ext uri="{FF2B5EF4-FFF2-40B4-BE49-F238E27FC236}">
                <a16:creationId xmlns="" xmlns:a16="http://schemas.microsoft.com/office/drawing/2014/main" id="{84BEF94A-3603-D049-8366-0359591FDE7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282145" y="2854744"/>
            <a:ext cx="2362200" cy="508280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5" name="Espace réservé du texte 20">
            <a:extLst>
              <a:ext uri="{FF2B5EF4-FFF2-40B4-BE49-F238E27FC236}">
                <a16:creationId xmlns="" xmlns:a16="http://schemas.microsoft.com/office/drawing/2014/main" id="{49CA7147-81E9-8E40-81E7-67155DE4EAF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00700" y="2859149"/>
            <a:ext cx="2362200" cy="582083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texte 20">
            <a:extLst>
              <a:ext uri="{FF2B5EF4-FFF2-40B4-BE49-F238E27FC236}">
                <a16:creationId xmlns="" xmlns:a16="http://schemas.microsoft.com/office/drawing/2014/main" id="{DA335B61-7051-6E4B-A5F0-BD65D0168E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244313" y="2859149"/>
            <a:ext cx="2362200" cy="582083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pic>
        <p:nvPicPr>
          <p:cNvPr id="17" name="Image 16">
            <a:extLst>
              <a:ext uri="{FF2B5EF4-FFF2-40B4-BE49-F238E27FC236}">
                <a16:creationId xmlns="" xmlns:a16="http://schemas.microsoft.com/office/drawing/2014/main" id="{E053C703-2E98-1048-B541-76B6C11BEC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06021" y="1996199"/>
            <a:ext cx="679148" cy="679148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="" xmlns:a16="http://schemas.microsoft.com/office/drawing/2014/main" id="{3220BA08-A846-9441-BBA4-5ED8B02350D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46097" y="1989977"/>
            <a:ext cx="818387" cy="818387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="" xmlns:a16="http://schemas.microsoft.com/office/drawing/2014/main" id="{8CB4D1A4-E2C7-5341-B54A-4B2B9A7EF25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03591" y="2018451"/>
            <a:ext cx="679148" cy="679148"/>
          </a:xfrm>
          <a:prstGeom prst="rect">
            <a:avLst/>
          </a:prstGeom>
        </p:spPr>
      </p:pic>
      <p:sp>
        <p:nvSpPr>
          <p:cNvPr id="22" name="Espace réservé du texte 12">
            <a:extLst>
              <a:ext uri="{FF2B5EF4-FFF2-40B4-BE49-F238E27FC236}">
                <a16:creationId xmlns="" xmlns:a16="http://schemas.microsoft.com/office/drawing/2014/main" id="{FAA9F4A3-B449-5543-B9BD-F758F2E7DEB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286572" y="3751715"/>
            <a:ext cx="2357389" cy="2267851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Espace réservé du texte 12">
            <a:extLst>
              <a:ext uri="{FF2B5EF4-FFF2-40B4-BE49-F238E27FC236}">
                <a16:creationId xmlns="" xmlns:a16="http://schemas.microsoft.com/office/drawing/2014/main" id="{136F65EB-2DB7-AE47-A14D-DB22B22DDDD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205511" y="3751715"/>
            <a:ext cx="2357389" cy="2267851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Espace réservé du texte 12">
            <a:extLst>
              <a:ext uri="{FF2B5EF4-FFF2-40B4-BE49-F238E27FC236}">
                <a16:creationId xmlns="" xmlns:a16="http://schemas.microsoft.com/office/drawing/2014/main" id="{F278779F-7897-E143-9F8B-BB3BB4A92C2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238683" y="3754067"/>
            <a:ext cx="2357389" cy="2267851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2">
            <a:extLst>
              <a:ext uri="{FF2B5EF4-FFF2-40B4-BE49-F238E27FC236}">
                <a16:creationId xmlns="" xmlns:a16="http://schemas.microsoft.com/office/drawing/2014/main" id="{E52107DC-3FCE-5745-85DC-8D9A69E9D5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2576882" y="1003685"/>
            <a:ext cx="8845420" cy="730700"/>
          </a:xfrm>
        </p:spPr>
        <p:txBody>
          <a:bodyPr/>
          <a:lstStyle>
            <a:lvl1pPr>
              <a:defRPr sz="1067" b="0"/>
            </a:lvl1pPr>
          </a:lstStyle>
          <a:p>
            <a:r>
              <a:rPr lang="fr-FR" dirty="0"/>
              <a:t>Modifier les styles du texte du masque</a:t>
            </a:r>
          </a:p>
        </p:txBody>
      </p:sp>
      <p:sp>
        <p:nvSpPr>
          <p:cNvPr id="28" name="Délai  3">
            <a:extLst>
              <a:ext uri="{FF2B5EF4-FFF2-40B4-BE49-F238E27FC236}">
                <a16:creationId xmlns="" xmlns:a16="http://schemas.microsoft.com/office/drawing/2014/main" id="{7740140E-6E54-4303-B634-A80EC3568A88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1794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ffre 6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982AA025-9510-4244-8E6F-94998440EA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5" name="Rectangle à coins arrondis 6">
            <a:extLst>
              <a:ext uri="{FF2B5EF4-FFF2-40B4-BE49-F238E27FC236}">
                <a16:creationId xmlns="" xmlns:a16="http://schemas.microsoft.com/office/drawing/2014/main" id="{2067D396-745D-6A4E-A6B5-D110E8332D3E}"/>
              </a:ext>
            </a:extLst>
          </p:cNvPr>
          <p:cNvSpPr/>
          <p:nvPr/>
        </p:nvSpPr>
        <p:spPr>
          <a:xfrm>
            <a:off x="-14425" y="1223221"/>
            <a:ext cx="2144545" cy="4733924"/>
          </a:xfrm>
          <a:custGeom>
            <a:avLst/>
            <a:gdLst>
              <a:gd name="connsiteX0" fmla="*/ 0 w 2151772"/>
              <a:gd name="connsiteY0" fmla="*/ 358636 h 3550443"/>
              <a:gd name="connsiteX1" fmla="*/ 358636 w 2151772"/>
              <a:gd name="connsiteY1" fmla="*/ 0 h 3550443"/>
              <a:gd name="connsiteX2" fmla="*/ 1793136 w 2151772"/>
              <a:gd name="connsiteY2" fmla="*/ 0 h 3550443"/>
              <a:gd name="connsiteX3" fmla="*/ 2151772 w 2151772"/>
              <a:gd name="connsiteY3" fmla="*/ 358636 h 3550443"/>
              <a:gd name="connsiteX4" fmla="*/ 2151772 w 2151772"/>
              <a:gd name="connsiteY4" fmla="*/ 3191807 h 3550443"/>
              <a:gd name="connsiteX5" fmla="*/ 1793136 w 2151772"/>
              <a:gd name="connsiteY5" fmla="*/ 3550443 h 3550443"/>
              <a:gd name="connsiteX6" fmla="*/ 358636 w 2151772"/>
              <a:gd name="connsiteY6" fmla="*/ 3550443 h 3550443"/>
              <a:gd name="connsiteX7" fmla="*/ 0 w 2151772"/>
              <a:gd name="connsiteY7" fmla="*/ 3191807 h 3550443"/>
              <a:gd name="connsiteX8" fmla="*/ 0 w 2151772"/>
              <a:gd name="connsiteY8" fmla="*/ 358636 h 3550443"/>
              <a:gd name="connsiteX0" fmla="*/ 0 w 2151772"/>
              <a:gd name="connsiteY0" fmla="*/ 358636 h 3550443"/>
              <a:gd name="connsiteX1" fmla="*/ 566454 w 2151772"/>
              <a:gd name="connsiteY1" fmla="*/ 0 h 3550443"/>
              <a:gd name="connsiteX2" fmla="*/ 1793136 w 2151772"/>
              <a:gd name="connsiteY2" fmla="*/ 0 h 3550443"/>
              <a:gd name="connsiteX3" fmla="*/ 2151772 w 2151772"/>
              <a:gd name="connsiteY3" fmla="*/ 358636 h 3550443"/>
              <a:gd name="connsiteX4" fmla="*/ 2151772 w 2151772"/>
              <a:gd name="connsiteY4" fmla="*/ 3191807 h 3550443"/>
              <a:gd name="connsiteX5" fmla="*/ 1793136 w 2151772"/>
              <a:gd name="connsiteY5" fmla="*/ 3550443 h 3550443"/>
              <a:gd name="connsiteX6" fmla="*/ 358636 w 2151772"/>
              <a:gd name="connsiteY6" fmla="*/ 3550443 h 3550443"/>
              <a:gd name="connsiteX7" fmla="*/ 0 w 2151772"/>
              <a:gd name="connsiteY7" fmla="*/ 3191807 h 3550443"/>
              <a:gd name="connsiteX8" fmla="*/ 0 w 2151772"/>
              <a:gd name="connsiteY8" fmla="*/ 358636 h 3550443"/>
              <a:gd name="connsiteX0" fmla="*/ 0 w 2151772"/>
              <a:gd name="connsiteY0" fmla="*/ 358636 h 3550443"/>
              <a:gd name="connsiteX1" fmla="*/ 543363 w 2151772"/>
              <a:gd name="connsiteY1" fmla="*/ 0 h 3550443"/>
              <a:gd name="connsiteX2" fmla="*/ 1793136 w 2151772"/>
              <a:gd name="connsiteY2" fmla="*/ 0 h 3550443"/>
              <a:gd name="connsiteX3" fmla="*/ 2151772 w 2151772"/>
              <a:gd name="connsiteY3" fmla="*/ 358636 h 3550443"/>
              <a:gd name="connsiteX4" fmla="*/ 2151772 w 2151772"/>
              <a:gd name="connsiteY4" fmla="*/ 3191807 h 3550443"/>
              <a:gd name="connsiteX5" fmla="*/ 1793136 w 2151772"/>
              <a:gd name="connsiteY5" fmla="*/ 3550443 h 3550443"/>
              <a:gd name="connsiteX6" fmla="*/ 358636 w 2151772"/>
              <a:gd name="connsiteY6" fmla="*/ 3550443 h 3550443"/>
              <a:gd name="connsiteX7" fmla="*/ 0 w 2151772"/>
              <a:gd name="connsiteY7" fmla="*/ 3191807 h 3550443"/>
              <a:gd name="connsiteX8" fmla="*/ 0 w 2151772"/>
              <a:gd name="connsiteY8" fmla="*/ 358636 h 3550443"/>
              <a:gd name="connsiteX0" fmla="*/ 0 w 2151772"/>
              <a:gd name="connsiteY0" fmla="*/ 358636 h 3550443"/>
              <a:gd name="connsiteX1" fmla="*/ 543363 w 2151772"/>
              <a:gd name="connsiteY1" fmla="*/ 0 h 3550443"/>
              <a:gd name="connsiteX2" fmla="*/ 1793136 w 2151772"/>
              <a:gd name="connsiteY2" fmla="*/ 0 h 3550443"/>
              <a:gd name="connsiteX3" fmla="*/ 2151772 w 2151772"/>
              <a:gd name="connsiteY3" fmla="*/ 358636 h 3550443"/>
              <a:gd name="connsiteX4" fmla="*/ 2151772 w 2151772"/>
              <a:gd name="connsiteY4" fmla="*/ 3191807 h 3550443"/>
              <a:gd name="connsiteX5" fmla="*/ 1793136 w 2151772"/>
              <a:gd name="connsiteY5" fmla="*/ 3550443 h 3550443"/>
              <a:gd name="connsiteX6" fmla="*/ 543363 w 2151772"/>
              <a:gd name="connsiteY6" fmla="*/ 3550443 h 3550443"/>
              <a:gd name="connsiteX7" fmla="*/ 0 w 2151772"/>
              <a:gd name="connsiteY7" fmla="*/ 3191807 h 3550443"/>
              <a:gd name="connsiteX8" fmla="*/ 0 w 2151772"/>
              <a:gd name="connsiteY8" fmla="*/ 358636 h 3550443"/>
              <a:gd name="connsiteX0" fmla="*/ 7697 w 2159469"/>
              <a:gd name="connsiteY0" fmla="*/ 358636 h 3550443"/>
              <a:gd name="connsiteX1" fmla="*/ 551060 w 2159469"/>
              <a:gd name="connsiteY1" fmla="*/ 0 h 3550443"/>
              <a:gd name="connsiteX2" fmla="*/ 1800833 w 2159469"/>
              <a:gd name="connsiteY2" fmla="*/ 0 h 3550443"/>
              <a:gd name="connsiteX3" fmla="*/ 2159469 w 2159469"/>
              <a:gd name="connsiteY3" fmla="*/ 358636 h 3550443"/>
              <a:gd name="connsiteX4" fmla="*/ 2159469 w 2159469"/>
              <a:gd name="connsiteY4" fmla="*/ 3191807 h 3550443"/>
              <a:gd name="connsiteX5" fmla="*/ 1800833 w 2159469"/>
              <a:gd name="connsiteY5" fmla="*/ 3550443 h 3550443"/>
              <a:gd name="connsiteX6" fmla="*/ 551060 w 2159469"/>
              <a:gd name="connsiteY6" fmla="*/ 3550443 h 3550443"/>
              <a:gd name="connsiteX7" fmla="*/ 0 w 2159469"/>
              <a:gd name="connsiteY7" fmla="*/ 3199504 h 3550443"/>
              <a:gd name="connsiteX8" fmla="*/ 7697 w 2159469"/>
              <a:gd name="connsiteY8" fmla="*/ 358636 h 3550443"/>
              <a:gd name="connsiteX0" fmla="*/ 7697 w 2159469"/>
              <a:gd name="connsiteY0" fmla="*/ 358636 h 3550443"/>
              <a:gd name="connsiteX1" fmla="*/ 551060 w 2159469"/>
              <a:gd name="connsiteY1" fmla="*/ 0 h 3550443"/>
              <a:gd name="connsiteX2" fmla="*/ 1800833 w 2159469"/>
              <a:gd name="connsiteY2" fmla="*/ 0 h 3550443"/>
              <a:gd name="connsiteX3" fmla="*/ 2159469 w 2159469"/>
              <a:gd name="connsiteY3" fmla="*/ 358636 h 3550443"/>
              <a:gd name="connsiteX4" fmla="*/ 2159469 w 2159469"/>
              <a:gd name="connsiteY4" fmla="*/ 3191807 h 3550443"/>
              <a:gd name="connsiteX5" fmla="*/ 1800833 w 2159469"/>
              <a:gd name="connsiteY5" fmla="*/ 3550443 h 3550443"/>
              <a:gd name="connsiteX6" fmla="*/ 551060 w 2159469"/>
              <a:gd name="connsiteY6" fmla="*/ 3550443 h 3550443"/>
              <a:gd name="connsiteX7" fmla="*/ 0 w 2159469"/>
              <a:gd name="connsiteY7" fmla="*/ 3199504 h 3550443"/>
              <a:gd name="connsiteX8" fmla="*/ 7697 w 2159469"/>
              <a:gd name="connsiteY8" fmla="*/ 358636 h 3550443"/>
              <a:gd name="connsiteX0" fmla="*/ 7697 w 2159469"/>
              <a:gd name="connsiteY0" fmla="*/ 358636 h 3550443"/>
              <a:gd name="connsiteX1" fmla="*/ 551060 w 2159469"/>
              <a:gd name="connsiteY1" fmla="*/ 0 h 3550443"/>
              <a:gd name="connsiteX2" fmla="*/ 1800833 w 2159469"/>
              <a:gd name="connsiteY2" fmla="*/ 0 h 3550443"/>
              <a:gd name="connsiteX3" fmla="*/ 2159469 w 2159469"/>
              <a:gd name="connsiteY3" fmla="*/ 358636 h 3550443"/>
              <a:gd name="connsiteX4" fmla="*/ 2159469 w 2159469"/>
              <a:gd name="connsiteY4" fmla="*/ 3191807 h 3550443"/>
              <a:gd name="connsiteX5" fmla="*/ 1800833 w 2159469"/>
              <a:gd name="connsiteY5" fmla="*/ 3550443 h 3550443"/>
              <a:gd name="connsiteX6" fmla="*/ 551060 w 2159469"/>
              <a:gd name="connsiteY6" fmla="*/ 3550443 h 3550443"/>
              <a:gd name="connsiteX7" fmla="*/ 0 w 2159469"/>
              <a:gd name="connsiteY7" fmla="*/ 3199504 h 3550443"/>
              <a:gd name="connsiteX8" fmla="*/ 7697 w 2159469"/>
              <a:gd name="connsiteY8" fmla="*/ 358636 h 3550443"/>
              <a:gd name="connsiteX0" fmla="*/ 15394 w 2167166"/>
              <a:gd name="connsiteY0" fmla="*/ 358636 h 3550443"/>
              <a:gd name="connsiteX1" fmla="*/ 558757 w 2167166"/>
              <a:gd name="connsiteY1" fmla="*/ 0 h 3550443"/>
              <a:gd name="connsiteX2" fmla="*/ 1808530 w 2167166"/>
              <a:gd name="connsiteY2" fmla="*/ 0 h 3550443"/>
              <a:gd name="connsiteX3" fmla="*/ 2167166 w 2167166"/>
              <a:gd name="connsiteY3" fmla="*/ 358636 h 3550443"/>
              <a:gd name="connsiteX4" fmla="*/ 2167166 w 2167166"/>
              <a:gd name="connsiteY4" fmla="*/ 3191807 h 3550443"/>
              <a:gd name="connsiteX5" fmla="*/ 1808530 w 2167166"/>
              <a:gd name="connsiteY5" fmla="*/ 3550443 h 3550443"/>
              <a:gd name="connsiteX6" fmla="*/ 558757 w 2167166"/>
              <a:gd name="connsiteY6" fmla="*/ 3550443 h 3550443"/>
              <a:gd name="connsiteX7" fmla="*/ 0 w 2167166"/>
              <a:gd name="connsiteY7" fmla="*/ 3191807 h 3550443"/>
              <a:gd name="connsiteX8" fmla="*/ 15394 w 2167166"/>
              <a:gd name="connsiteY8" fmla="*/ 358636 h 3550443"/>
              <a:gd name="connsiteX0" fmla="*/ 15394 w 2167166"/>
              <a:gd name="connsiteY0" fmla="*/ 358636 h 3550443"/>
              <a:gd name="connsiteX1" fmla="*/ 558757 w 2167166"/>
              <a:gd name="connsiteY1" fmla="*/ 0 h 3550443"/>
              <a:gd name="connsiteX2" fmla="*/ 1808530 w 2167166"/>
              <a:gd name="connsiteY2" fmla="*/ 0 h 3550443"/>
              <a:gd name="connsiteX3" fmla="*/ 2167166 w 2167166"/>
              <a:gd name="connsiteY3" fmla="*/ 358636 h 3550443"/>
              <a:gd name="connsiteX4" fmla="*/ 2167166 w 2167166"/>
              <a:gd name="connsiteY4" fmla="*/ 3191807 h 3550443"/>
              <a:gd name="connsiteX5" fmla="*/ 1808530 w 2167166"/>
              <a:gd name="connsiteY5" fmla="*/ 3550443 h 3550443"/>
              <a:gd name="connsiteX6" fmla="*/ 558757 w 2167166"/>
              <a:gd name="connsiteY6" fmla="*/ 3550443 h 3550443"/>
              <a:gd name="connsiteX7" fmla="*/ 0 w 2167166"/>
              <a:gd name="connsiteY7" fmla="*/ 3191807 h 3550443"/>
              <a:gd name="connsiteX8" fmla="*/ 15394 w 2167166"/>
              <a:gd name="connsiteY8" fmla="*/ 358636 h 3550443"/>
              <a:gd name="connsiteX0" fmla="*/ 15394 w 2167166"/>
              <a:gd name="connsiteY0" fmla="*/ 358636 h 3550443"/>
              <a:gd name="connsiteX1" fmla="*/ 558757 w 2167166"/>
              <a:gd name="connsiteY1" fmla="*/ 0 h 3550443"/>
              <a:gd name="connsiteX2" fmla="*/ 1808530 w 2167166"/>
              <a:gd name="connsiteY2" fmla="*/ 0 h 3550443"/>
              <a:gd name="connsiteX3" fmla="*/ 2167166 w 2167166"/>
              <a:gd name="connsiteY3" fmla="*/ 358636 h 3550443"/>
              <a:gd name="connsiteX4" fmla="*/ 2167166 w 2167166"/>
              <a:gd name="connsiteY4" fmla="*/ 3191807 h 3550443"/>
              <a:gd name="connsiteX5" fmla="*/ 1808530 w 2167166"/>
              <a:gd name="connsiteY5" fmla="*/ 3550443 h 3550443"/>
              <a:gd name="connsiteX6" fmla="*/ 558757 w 2167166"/>
              <a:gd name="connsiteY6" fmla="*/ 3550443 h 3550443"/>
              <a:gd name="connsiteX7" fmla="*/ 0 w 2167166"/>
              <a:gd name="connsiteY7" fmla="*/ 3191807 h 3550443"/>
              <a:gd name="connsiteX8" fmla="*/ 15394 w 2167166"/>
              <a:gd name="connsiteY8" fmla="*/ 358636 h 3550443"/>
              <a:gd name="connsiteX0" fmla="*/ 15394 w 2167166"/>
              <a:gd name="connsiteY0" fmla="*/ 358636 h 3550443"/>
              <a:gd name="connsiteX1" fmla="*/ 558757 w 2167166"/>
              <a:gd name="connsiteY1" fmla="*/ 0 h 3550443"/>
              <a:gd name="connsiteX2" fmla="*/ 1808530 w 2167166"/>
              <a:gd name="connsiteY2" fmla="*/ 0 h 3550443"/>
              <a:gd name="connsiteX3" fmla="*/ 2167166 w 2167166"/>
              <a:gd name="connsiteY3" fmla="*/ 358636 h 3550443"/>
              <a:gd name="connsiteX4" fmla="*/ 2167166 w 2167166"/>
              <a:gd name="connsiteY4" fmla="*/ 3191807 h 3550443"/>
              <a:gd name="connsiteX5" fmla="*/ 1808530 w 2167166"/>
              <a:gd name="connsiteY5" fmla="*/ 3550443 h 3550443"/>
              <a:gd name="connsiteX6" fmla="*/ 558757 w 2167166"/>
              <a:gd name="connsiteY6" fmla="*/ 3550443 h 3550443"/>
              <a:gd name="connsiteX7" fmla="*/ 0 w 2167166"/>
              <a:gd name="connsiteY7" fmla="*/ 3191807 h 3550443"/>
              <a:gd name="connsiteX8" fmla="*/ 15394 w 2167166"/>
              <a:gd name="connsiteY8" fmla="*/ 358636 h 3550443"/>
              <a:gd name="connsiteX0" fmla="*/ 7697 w 2159469"/>
              <a:gd name="connsiteY0" fmla="*/ 358636 h 3550443"/>
              <a:gd name="connsiteX1" fmla="*/ 551060 w 2159469"/>
              <a:gd name="connsiteY1" fmla="*/ 0 h 3550443"/>
              <a:gd name="connsiteX2" fmla="*/ 1800833 w 2159469"/>
              <a:gd name="connsiteY2" fmla="*/ 0 h 3550443"/>
              <a:gd name="connsiteX3" fmla="*/ 2159469 w 2159469"/>
              <a:gd name="connsiteY3" fmla="*/ 358636 h 3550443"/>
              <a:gd name="connsiteX4" fmla="*/ 2159469 w 2159469"/>
              <a:gd name="connsiteY4" fmla="*/ 3191807 h 3550443"/>
              <a:gd name="connsiteX5" fmla="*/ 1800833 w 2159469"/>
              <a:gd name="connsiteY5" fmla="*/ 3550443 h 3550443"/>
              <a:gd name="connsiteX6" fmla="*/ 551060 w 2159469"/>
              <a:gd name="connsiteY6" fmla="*/ 3550443 h 3550443"/>
              <a:gd name="connsiteX7" fmla="*/ 0 w 2159469"/>
              <a:gd name="connsiteY7" fmla="*/ 3199504 h 3550443"/>
              <a:gd name="connsiteX8" fmla="*/ 7697 w 2159469"/>
              <a:gd name="connsiteY8" fmla="*/ 358636 h 3550443"/>
              <a:gd name="connsiteX0" fmla="*/ 7697 w 2159469"/>
              <a:gd name="connsiteY0" fmla="*/ 358636 h 3550443"/>
              <a:gd name="connsiteX1" fmla="*/ 551060 w 2159469"/>
              <a:gd name="connsiteY1" fmla="*/ 0 h 3550443"/>
              <a:gd name="connsiteX2" fmla="*/ 1800833 w 2159469"/>
              <a:gd name="connsiteY2" fmla="*/ 0 h 3550443"/>
              <a:gd name="connsiteX3" fmla="*/ 2159469 w 2159469"/>
              <a:gd name="connsiteY3" fmla="*/ 358636 h 3550443"/>
              <a:gd name="connsiteX4" fmla="*/ 2159469 w 2159469"/>
              <a:gd name="connsiteY4" fmla="*/ 3191807 h 3550443"/>
              <a:gd name="connsiteX5" fmla="*/ 1800833 w 2159469"/>
              <a:gd name="connsiteY5" fmla="*/ 3550443 h 3550443"/>
              <a:gd name="connsiteX6" fmla="*/ 551060 w 2159469"/>
              <a:gd name="connsiteY6" fmla="*/ 3550443 h 3550443"/>
              <a:gd name="connsiteX7" fmla="*/ 0 w 2159469"/>
              <a:gd name="connsiteY7" fmla="*/ 3199504 h 3550443"/>
              <a:gd name="connsiteX8" fmla="*/ 7697 w 2159469"/>
              <a:gd name="connsiteY8" fmla="*/ 358636 h 3550443"/>
              <a:gd name="connsiteX0" fmla="*/ 45684 w 2197456"/>
              <a:gd name="connsiteY0" fmla="*/ 358636 h 3550443"/>
              <a:gd name="connsiteX1" fmla="*/ 589047 w 2197456"/>
              <a:gd name="connsiteY1" fmla="*/ 0 h 3550443"/>
              <a:gd name="connsiteX2" fmla="*/ 1838820 w 2197456"/>
              <a:gd name="connsiteY2" fmla="*/ 0 h 3550443"/>
              <a:gd name="connsiteX3" fmla="*/ 2197456 w 2197456"/>
              <a:gd name="connsiteY3" fmla="*/ 358636 h 3550443"/>
              <a:gd name="connsiteX4" fmla="*/ 2197456 w 2197456"/>
              <a:gd name="connsiteY4" fmla="*/ 3191807 h 3550443"/>
              <a:gd name="connsiteX5" fmla="*/ 1838820 w 2197456"/>
              <a:gd name="connsiteY5" fmla="*/ 3550443 h 3550443"/>
              <a:gd name="connsiteX6" fmla="*/ 589047 w 2197456"/>
              <a:gd name="connsiteY6" fmla="*/ 3550443 h 3550443"/>
              <a:gd name="connsiteX7" fmla="*/ 37987 w 2197456"/>
              <a:gd name="connsiteY7" fmla="*/ 3199504 h 3550443"/>
              <a:gd name="connsiteX8" fmla="*/ 53382 w 2197456"/>
              <a:gd name="connsiteY8" fmla="*/ 2838705 h 3550443"/>
              <a:gd name="connsiteX9" fmla="*/ 45684 w 2197456"/>
              <a:gd name="connsiteY9" fmla="*/ 358636 h 3550443"/>
              <a:gd name="connsiteX0" fmla="*/ 45684 w 2197456"/>
              <a:gd name="connsiteY0" fmla="*/ 358636 h 3550443"/>
              <a:gd name="connsiteX1" fmla="*/ 589047 w 2197456"/>
              <a:gd name="connsiteY1" fmla="*/ 0 h 3550443"/>
              <a:gd name="connsiteX2" fmla="*/ 1838820 w 2197456"/>
              <a:gd name="connsiteY2" fmla="*/ 0 h 3550443"/>
              <a:gd name="connsiteX3" fmla="*/ 2197456 w 2197456"/>
              <a:gd name="connsiteY3" fmla="*/ 358636 h 3550443"/>
              <a:gd name="connsiteX4" fmla="*/ 2197456 w 2197456"/>
              <a:gd name="connsiteY4" fmla="*/ 3191807 h 3550443"/>
              <a:gd name="connsiteX5" fmla="*/ 1838820 w 2197456"/>
              <a:gd name="connsiteY5" fmla="*/ 3550443 h 3550443"/>
              <a:gd name="connsiteX6" fmla="*/ 589047 w 2197456"/>
              <a:gd name="connsiteY6" fmla="*/ 3550443 h 3550443"/>
              <a:gd name="connsiteX7" fmla="*/ 37987 w 2197456"/>
              <a:gd name="connsiteY7" fmla="*/ 2822352 h 3550443"/>
              <a:gd name="connsiteX8" fmla="*/ 53382 w 2197456"/>
              <a:gd name="connsiteY8" fmla="*/ 2838705 h 3550443"/>
              <a:gd name="connsiteX9" fmla="*/ 45684 w 2197456"/>
              <a:gd name="connsiteY9" fmla="*/ 358636 h 3550443"/>
              <a:gd name="connsiteX0" fmla="*/ 29296 w 2181068"/>
              <a:gd name="connsiteY0" fmla="*/ 358636 h 3550443"/>
              <a:gd name="connsiteX1" fmla="*/ 572659 w 2181068"/>
              <a:gd name="connsiteY1" fmla="*/ 0 h 3550443"/>
              <a:gd name="connsiteX2" fmla="*/ 1822432 w 2181068"/>
              <a:gd name="connsiteY2" fmla="*/ 0 h 3550443"/>
              <a:gd name="connsiteX3" fmla="*/ 2181068 w 2181068"/>
              <a:gd name="connsiteY3" fmla="*/ 358636 h 3550443"/>
              <a:gd name="connsiteX4" fmla="*/ 2181068 w 2181068"/>
              <a:gd name="connsiteY4" fmla="*/ 3191807 h 3550443"/>
              <a:gd name="connsiteX5" fmla="*/ 1822432 w 2181068"/>
              <a:gd name="connsiteY5" fmla="*/ 3550443 h 3550443"/>
              <a:gd name="connsiteX6" fmla="*/ 572659 w 2181068"/>
              <a:gd name="connsiteY6" fmla="*/ 3550443 h 3550443"/>
              <a:gd name="connsiteX7" fmla="*/ 21599 w 2181068"/>
              <a:gd name="connsiteY7" fmla="*/ 2822352 h 3550443"/>
              <a:gd name="connsiteX8" fmla="*/ 167843 w 2181068"/>
              <a:gd name="connsiteY8" fmla="*/ 3161978 h 3550443"/>
              <a:gd name="connsiteX9" fmla="*/ 29296 w 2181068"/>
              <a:gd name="connsiteY9" fmla="*/ 358636 h 3550443"/>
              <a:gd name="connsiteX0" fmla="*/ 16779 w 2168551"/>
              <a:gd name="connsiteY0" fmla="*/ 358636 h 3637385"/>
              <a:gd name="connsiteX1" fmla="*/ 560142 w 2168551"/>
              <a:gd name="connsiteY1" fmla="*/ 0 h 3637385"/>
              <a:gd name="connsiteX2" fmla="*/ 1809915 w 2168551"/>
              <a:gd name="connsiteY2" fmla="*/ 0 h 3637385"/>
              <a:gd name="connsiteX3" fmla="*/ 2168551 w 2168551"/>
              <a:gd name="connsiteY3" fmla="*/ 358636 h 3637385"/>
              <a:gd name="connsiteX4" fmla="*/ 2168551 w 2168551"/>
              <a:gd name="connsiteY4" fmla="*/ 3191807 h 3637385"/>
              <a:gd name="connsiteX5" fmla="*/ 1809915 w 2168551"/>
              <a:gd name="connsiteY5" fmla="*/ 3550443 h 3637385"/>
              <a:gd name="connsiteX6" fmla="*/ 560142 w 2168551"/>
              <a:gd name="connsiteY6" fmla="*/ 3550443 h 3637385"/>
              <a:gd name="connsiteX7" fmla="*/ 9082 w 2168551"/>
              <a:gd name="connsiteY7" fmla="*/ 2822352 h 3637385"/>
              <a:gd name="connsiteX8" fmla="*/ 570962 w 2168551"/>
              <a:gd name="connsiteY8" fmla="*/ 3554523 h 3637385"/>
              <a:gd name="connsiteX9" fmla="*/ 16779 w 2168551"/>
              <a:gd name="connsiteY9" fmla="*/ 358636 h 3637385"/>
              <a:gd name="connsiteX0" fmla="*/ 9149 w 2160921"/>
              <a:gd name="connsiteY0" fmla="*/ 358636 h 3685575"/>
              <a:gd name="connsiteX1" fmla="*/ 552512 w 2160921"/>
              <a:gd name="connsiteY1" fmla="*/ 0 h 3685575"/>
              <a:gd name="connsiteX2" fmla="*/ 1802285 w 2160921"/>
              <a:gd name="connsiteY2" fmla="*/ 0 h 3685575"/>
              <a:gd name="connsiteX3" fmla="*/ 2160921 w 2160921"/>
              <a:gd name="connsiteY3" fmla="*/ 358636 h 3685575"/>
              <a:gd name="connsiteX4" fmla="*/ 2160921 w 2160921"/>
              <a:gd name="connsiteY4" fmla="*/ 3191807 h 3685575"/>
              <a:gd name="connsiteX5" fmla="*/ 1802285 w 2160921"/>
              <a:gd name="connsiteY5" fmla="*/ 3550443 h 3685575"/>
              <a:gd name="connsiteX6" fmla="*/ 552512 w 2160921"/>
              <a:gd name="connsiteY6" fmla="*/ 3550443 h 3685575"/>
              <a:gd name="connsiteX7" fmla="*/ 578725 w 2160921"/>
              <a:gd name="connsiteY7" fmla="*/ 3553564 h 3685575"/>
              <a:gd name="connsiteX8" fmla="*/ 563332 w 2160921"/>
              <a:gd name="connsiteY8" fmla="*/ 3554523 h 3685575"/>
              <a:gd name="connsiteX9" fmla="*/ 9149 w 2160921"/>
              <a:gd name="connsiteY9" fmla="*/ 358636 h 3685575"/>
              <a:gd name="connsiteX0" fmla="*/ 61745 w 1690123"/>
              <a:gd name="connsiteY0" fmla="*/ 87507 h 3768507"/>
              <a:gd name="connsiteX1" fmla="*/ 81714 w 1690123"/>
              <a:gd name="connsiteY1" fmla="*/ 82932 h 3768507"/>
              <a:gd name="connsiteX2" fmla="*/ 1331487 w 1690123"/>
              <a:gd name="connsiteY2" fmla="*/ 82932 h 3768507"/>
              <a:gd name="connsiteX3" fmla="*/ 1690123 w 1690123"/>
              <a:gd name="connsiteY3" fmla="*/ 441568 h 3768507"/>
              <a:gd name="connsiteX4" fmla="*/ 1690123 w 1690123"/>
              <a:gd name="connsiteY4" fmla="*/ 3274739 h 3768507"/>
              <a:gd name="connsiteX5" fmla="*/ 1331487 w 1690123"/>
              <a:gd name="connsiteY5" fmla="*/ 3633375 h 3768507"/>
              <a:gd name="connsiteX6" fmla="*/ 81714 w 1690123"/>
              <a:gd name="connsiteY6" fmla="*/ 3633375 h 3768507"/>
              <a:gd name="connsiteX7" fmla="*/ 107927 w 1690123"/>
              <a:gd name="connsiteY7" fmla="*/ 3636496 h 3768507"/>
              <a:gd name="connsiteX8" fmla="*/ 92534 w 1690123"/>
              <a:gd name="connsiteY8" fmla="*/ 3637455 h 3768507"/>
              <a:gd name="connsiteX9" fmla="*/ 61745 w 1690123"/>
              <a:gd name="connsiteY9" fmla="*/ 87507 h 3768507"/>
              <a:gd name="connsiteX0" fmla="*/ 392547 w 2020925"/>
              <a:gd name="connsiteY0" fmla="*/ 87507 h 3723724"/>
              <a:gd name="connsiteX1" fmla="*/ 412516 w 2020925"/>
              <a:gd name="connsiteY1" fmla="*/ 82932 h 3723724"/>
              <a:gd name="connsiteX2" fmla="*/ 1662289 w 2020925"/>
              <a:gd name="connsiteY2" fmla="*/ 82932 h 3723724"/>
              <a:gd name="connsiteX3" fmla="*/ 2020925 w 2020925"/>
              <a:gd name="connsiteY3" fmla="*/ 441568 h 3723724"/>
              <a:gd name="connsiteX4" fmla="*/ 2020925 w 2020925"/>
              <a:gd name="connsiteY4" fmla="*/ 3274739 h 3723724"/>
              <a:gd name="connsiteX5" fmla="*/ 1662289 w 2020925"/>
              <a:gd name="connsiteY5" fmla="*/ 3633375 h 3723724"/>
              <a:gd name="connsiteX6" fmla="*/ 412516 w 2020925"/>
              <a:gd name="connsiteY6" fmla="*/ 3633375 h 3723724"/>
              <a:gd name="connsiteX7" fmla="*/ 438729 w 2020925"/>
              <a:gd name="connsiteY7" fmla="*/ 3636496 h 3723724"/>
              <a:gd name="connsiteX8" fmla="*/ 3 w 2020925"/>
              <a:gd name="connsiteY8" fmla="*/ 3360364 h 3723724"/>
              <a:gd name="connsiteX9" fmla="*/ 392547 w 2020925"/>
              <a:gd name="connsiteY9" fmla="*/ 87507 h 3723724"/>
              <a:gd name="connsiteX0" fmla="*/ 61745 w 1690123"/>
              <a:gd name="connsiteY0" fmla="*/ 87507 h 3761631"/>
              <a:gd name="connsiteX1" fmla="*/ 81714 w 1690123"/>
              <a:gd name="connsiteY1" fmla="*/ 82932 h 3761631"/>
              <a:gd name="connsiteX2" fmla="*/ 1331487 w 1690123"/>
              <a:gd name="connsiteY2" fmla="*/ 82932 h 3761631"/>
              <a:gd name="connsiteX3" fmla="*/ 1690123 w 1690123"/>
              <a:gd name="connsiteY3" fmla="*/ 441568 h 3761631"/>
              <a:gd name="connsiteX4" fmla="*/ 1690123 w 1690123"/>
              <a:gd name="connsiteY4" fmla="*/ 3274739 h 3761631"/>
              <a:gd name="connsiteX5" fmla="*/ 1331487 w 1690123"/>
              <a:gd name="connsiteY5" fmla="*/ 3633375 h 3761631"/>
              <a:gd name="connsiteX6" fmla="*/ 81714 w 1690123"/>
              <a:gd name="connsiteY6" fmla="*/ 3633375 h 3761631"/>
              <a:gd name="connsiteX7" fmla="*/ 107927 w 1690123"/>
              <a:gd name="connsiteY7" fmla="*/ 3636496 h 3761631"/>
              <a:gd name="connsiteX8" fmla="*/ 92534 w 1690123"/>
              <a:gd name="connsiteY8" fmla="*/ 3629758 h 3761631"/>
              <a:gd name="connsiteX9" fmla="*/ 61745 w 1690123"/>
              <a:gd name="connsiteY9" fmla="*/ 87507 h 3761631"/>
              <a:gd name="connsiteX0" fmla="*/ 654243 w 2282621"/>
              <a:gd name="connsiteY0" fmla="*/ 87507 h 3723724"/>
              <a:gd name="connsiteX1" fmla="*/ 674212 w 2282621"/>
              <a:gd name="connsiteY1" fmla="*/ 82932 h 3723724"/>
              <a:gd name="connsiteX2" fmla="*/ 1923985 w 2282621"/>
              <a:gd name="connsiteY2" fmla="*/ 82932 h 3723724"/>
              <a:gd name="connsiteX3" fmla="*/ 2282621 w 2282621"/>
              <a:gd name="connsiteY3" fmla="*/ 441568 h 3723724"/>
              <a:gd name="connsiteX4" fmla="*/ 2282621 w 2282621"/>
              <a:gd name="connsiteY4" fmla="*/ 3274739 h 3723724"/>
              <a:gd name="connsiteX5" fmla="*/ 1923985 w 2282621"/>
              <a:gd name="connsiteY5" fmla="*/ 3633375 h 3723724"/>
              <a:gd name="connsiteX6" fmla="*/ 674212 w 2282621"/>
              <a:gd name="connsiteY6" fmla="*/ 3633375 h 3723724"/>
              <a:gd name="connsiteX7" fmla="*/ 700425 w 2282621"/>
              <a:gd name="connsiteY7" fmla="*/ 3636496 h 3723724"/>
              <a:gd name="connsiteX8" fmla="*/ 2 w 2282621"/>
              <a:gd name="connsiteY8" fmla="*/ 3044789 h 3723724"/>
              <a:gd name="connsiteX9" fmla="*/ 654243 w 2282621"/>
              <a:gd name="connsiteY9" fmla="*/ 87507 h 3723724"/>
              <a:gd name="connsiteX0" fmla="*/ 654251 w 2282629"/>
              <a:gd name="connsiteY0" fmla="*/ 87507 h 3645507"/>
              <a:gd name="connsiteX1" fmla="*/ 674220 w 2282629"/>
              <a:gd name="connsiteY1" fmla="*/ 82932 h 3645507"/>
              <a:gd name="connsiteX2" fmla="*/ 1923993 w 2282629"/>
              <a:gd name="connsiteY2" fmla="*/ 82932 h 3645507"/>
              <a:gd name="connsiteX3" fmla="*/ 2282629 w 2282629"/>
              <a:gd name="connsiteY3" fmla="*/ 441568 h 3645507"/>
              <a:gd name="connsiteX4" fmla="*/ 2282629 w 2282629"/>
              <a:gd name="connsiteY4" fmla="*/ 3274739 h 3645507"/>
              <a:gd name="connsiteX5" fmla="*/ 1923993 w 2282629"/>
              <a:gd name="connsiteY5" fmla="*/ 3633375 h 3645507"/>
              <a:gd name="connsiteX6" fmla="*/ 674220 w 2282629"/>
              <a:gd name="connsiteY6" fmla="*/ 3633375 h 3645507"/>
              <a:gd name="connsiteX7" fmla="*/ 207827 w 2282629"/>
              <a:gd name="connsiteY7" fmla="*/ 3505648 h 3645507"/>
              <a:gd name="connsiteX8" fmla="*/ 10 w 2282629"/>
              <a:gd name="connsiteY8" fmla="*/ 3044789 h 3645507"/>
              <a:gd name="connsiteX9" fmla="*/ 654251 w 2282629"/>
              <a:gd name="connsiteY9" fmla="*/ 87507 h 3645507"/>
              <a:gd name="connsiteX0" fmla="*/ 654244 w 2282622"/>
              <a:gd name="connsiteY0" fmla="*/ 87507 h 3712431"/>
              <a:gd name="connsiteX1" fmla="*/ 674213 w 2282622"/>
              <a:gd name="connsiteY1" fmla="*/ 82932 h 3712431"/>
              <a:gd name="connsiteX2" fmla="*/ 1923986 w 2282622"/>
              <a:gd name="connsiteY2" fmla="*/ 82932 h 3712431"/>
              <a:gd name="connsiteX3" fmla="*/ 2282622 w 2282622"/>
              <a:gd name="connsiteY3" fmla="*/ 441568 h 3712431"/>
              <a:gd name="connsiteX4" fmla="*/ 2282622 w 2282622"/>
              <a:gd name="connsiteY4" fmla="*/ 3274739 h 3712431"/>
              <a:gd name="connsiteX5" fmla="*/ 1923986 w 2282622"/>
              <a:gd name="connsiteY5" fmla="*/ 3633375 h 3712431"/>
              <a:gd name="connsiteX6" fmla="*/ 674213 w 2282622"/>
              <a:gd name="connsiteY6" fmla="*/ 3633375 h 3712431"/>
              <a:gd name="connsiteX7" fmla="*/ 677335 w 2282622"/>
              <a:gd name="connsiteY7" fmla="*/ 3621102 h 3712431"/>
              <a:gd name="connsiteX8" fmla="*/ 3 w 2282622"/>
              <a:gd name="connsiteY8" fmla="*/ 3044789 h 3712431"/>
              <a:gd name="connsiteX9" fmla="*/ 654244 w 2282622"/>
              <a:gd name="connsiteY9" fmla="*/ 87507 h 3712431"/>
              <a:gd name="connsiteX0" fmla="*/ 675072 w 2303450"/>
              <a:gd name="connsiteY0" fmla="*/ 87507 h 3633375"/>
              <a:gd name="connsiteX1" fmla="*/ 695041 w 2303450"/>
              <a:gd name="connsiteY1" fmla="*/ 82932 h 3633375"/>
              <a:gd name="connsiteX2" fmla="*/ 1944814 w 2303450"/>
              <a:gd name="connsiteY2" fmla="*/ 82932 h 3633375"/>
              <a:gd name="connsiteX3" fmla="*/ 2303450 w 2303450"/>
              <a:gd name="connsiteY3" fmla="*/ 441568 h 3633375"/>
              <a:gd name="connsiteX4" fmla="*/ 2303450 w 2303450"/>
              <a:gd name="connsiteY4" fmla="*/ 3274739 h 3633375"/>
              <a:gd name="connsiteX5" fmla="*/ 1944814 w 2303450"/>
              <a:gd name="connsiteY5" fmla="*/ 3633375 h 3633375"/>
              <a:gd name="connsiteX6" fmla="*/ 695041 w 2303450"/>
              <a:gd name="connsiteY6" fmla="*/ 3633375 h 3633375"/>
              <a:gd name="connsiteX7" fmla="*/ 51618 w 2303450"/>
              <a:gd name="connsiteY7" fmla="*/ 3367102 h 3633375"/>
              <a:gd name="connsiteX8" fmla="*/ 20831 w 2303450"/>
              <a:gd name="connsiteY8" fmla="*/ 3044789 h 3633375"/>
              <a:gd name="connsiteX9" fmla="*/ 675072 w 2303450"/>
              <a:gd name="connsiteY9" fmla="*/ 87507 h 3633375"/>
              <a:gd name="connsiteX0" fmla="*/ 650572 w 2278950"/>
              <a:gd name="connsiteY0" fmla="*/ 87507 h 3633375"/>
              <a:gd name="connsiteX1" fmla="*/ 670541 w 2278950"/>
              <a:gd name="connsiteY1" fmla="*/ 82932 h 3633375"/>
              <a:gd name="connsiteX2" fmla="*/ 1920314 w 2278950"/>
              <a:gd name="connsiteY2" fmla="*/ 82932 h 3633375"/>
              <a:gd name="connsiteX3" fmla="*/ 2278950 w 2278950"/>
              <a:gd name="connsiteY3" fmla="*/ 441568 h 3633375"/>
              <a:gd name="connsiteX4" fmla="*/ 2278950 w 2278950"/>
              <a:gd name="connsiteY4" fmla="*/ 3274739 h 3633375"/>
              <a:gd name="connsiteX5" fmla="*/ 1920314 w 2278950"/>
              <a:gd name="connsiteY5" fmla="*/ 3633375 h 3633375"/>
              <a:gd name="connsiteX6" fmla="*/ 670541 w 2278950"/>
              <a:gd name="connsiteY6" fmla="*/ 3633375 h 3633375"/>
              <a:gd name="connsiteX7" fmla="*/ 27118 w 2278950"/>
              <a:gd name="connsiteY7" fmla="*/ 3367102 h 3633375"/>
              <a:gd name="connsiteX8" fmla="*/ 111785 w 2278950"/>
              <a:gd name="connsiteY8" fmla="*/ 2352062 h 3633375"/>
              <a:gd name="connsiteX9" fmla="*/ 650572 w 2278950"/>
              <a:gd name="connsiteY9" fmla="*/ 87507 h 3633375"/>
              <a:gd name="connsiteX0" fmla="*/ 648945 w 2277323"/>
              <a:gd name="connsiteY0" fmla="*/ 87507 h 3633375"/>
              <a:gd name="connsiteX1" fmla="*/ 668914 w 2277323"/>
              <a:gd name="connsiteY1" fmla="*/ 82932 h 3633375"/>
              <a:gd name="connsiteX2" fmla="*/ 1918687 w 2277323"/>
              <a:gd name="connsiteY2" fmla="*/ 82932 h 3633375"/>
              <a:gd name="connsiteX3" fmla="*/ 2277323 w 2277323"/>
              <a:gd name="connsiteY3" fmla="*/ 441568 h 3633375"/>
              <a:gd name="connsiteX4" fmla="*/ 2277323 w 2277323"/>
              <a:gd name="connsiteY4" fmla="*/ 3274739 h 3633375"/>
              <a:gd name="connsiteX5" fmla="*/ 1918687 w 2277323"/>
              <a:gd name="connsiteY5" fmla="*/ 3633375 h 3633375"/>
              <a:gd name="connsiteX6" fmla="*/ 668914 w 2277323"/>
              <a:gd name="connsiteY6" fmla="*/ 3633375 h 3633375"/>
              <a:gd name="connsiteX7" fmla="*/ 25491 w 2277323"/>
              <a:gd name="connsiteY7" fmla="*/ 3367102 h 3633375"/>
              <a:gd name="connsiteX8" fmla="*/ 125552 w 2277323"/>
              <a:gd name="connsiteY8" fmla="*/ 2352062 h 3633375"/>
              <a:gd name="connsiteX9" fmla="*/ 648945 w 2277323"/>
              <a:gd name="connsiteY9" fmla="*/ 87507 h 3633375"/>
              <a:gd name="connsiteX0" fmla="*/ 623470 w 2251848"/>
              <a:gd name="connsiteY0" fmla="*/ 87507 h 3633375"/>
              <a:gd name="connsiteX1" fmla="*/ 643439 w 2251848"/>
              <a:gd name="connsiteY1" fmla="*/ 82932 h 3633375"/>
              <a:gd name="connsiteX2" fmla="*/ 1893212 w 2251848"/>
              <a:gd name="connsiteY2" fmla="*/ 82932 h 3633375"/>
              <a:gd name="connsiteX3" fmla="*/ 2251848 w 2251848"/>
              <a:gd name="connsiteY3" fmla="*/ 441568 h 3633375"/>
              <a:gd name="connsiteX4" fmla="*/ 2251848 w 2251848"/>
              <a:gd name="connsiteY4" fmla="*/ 3274739 h 3633375"/>
              <a:gd name="connsiteX5" fmla="*/ 1893212 w 2251848"/>
              <a:gd name="connsiteY5" fmla="*/ 3633375 h 3633375"/>
              <a:gd name="connsiteX6" fmla="*/ 643439 w 2251848"/>
              <a:gd name="connsiteY6" fmla="*/ 3633375 h 3633375"/>
              <a:gd name="connsiteX7" fmla="*/ 16 w 2251848"/>
              <a:gd name="connsiteY7" fmla="*/ 3367102 h 3633375"/>
              <a:gd name="connsiteX8" fmla="*/ 623470 w 2251848"/>
              <a:gd name="connsiteY8" fmla="*/ 87507 h 3633375"/>
              <a:gd name="connsiteX0" fmla="*/ 79558 w 1707936"/>
              <a:gd name="connsiteY0" fmla="*/ 87507 h 3633375"/>
              <a:gd name="connsiteX1" fmla="*/ 99527 w 1707936"/>
              <a:gd name="connsiteY1" fmla="*/ 82932 h 3633375"/>
              <a:gd name="connsiteX2" fmla="*/ 1349300 w 1707936"/>
              <a:gd name="connsiteY2" fmla="*/ 82932 h 3633375"/>
              <a:gd name="connsiteX3" fmla="*/ 1707936 w 1707936"/>
              <a:gd name="connsiteY3" fmla="*/ 441568 h 3633375"/>
              <a:gd name="connsiteX4" fmla="*/ 1707936 w 1707936"/>
              <a:gd name="connsiteY4" fmla="*/ 3274739 h 3633375"/>
              <a:gd name="connsiteX5" fmla="*/ 1349300 w 1707936"/>
              <a:gd name="connsiteY5" fmla="*/ 3633375 h 3633375"/>
              <a:gd name="connsiteX6" fmla="*/ 99527 w 1707936"/>
              <a:gd name="connsiteY6" fmla="*/ 3633375 h 3633375"/>
              <a:gd name="connsiteX7" fmla="*/ 79558 w 1707936"/>
              <a:gd name="connsiteY7" fmla="*/ 87507 h 3633375"/>
              <a:gd name="connsiteX0" fmla="*/ 44076 w 1726333"/>
              <a:gd name="connsiteY0" fmla="*/ 2421424 h 3550443"/>
              <a:gd name="connsiteX1" fmla="*/ 117924 w 1726333"/>
              <a:gd name="connsiteY1" fmla="*/ 0 h 3550443"/>
              <a:gd name="connsiteX2" fmla="*/ 1367697 w 1726333"/>
              <a:gd name="connsiteY2" fmla="*/ 0 h 3550443"/>
              <a:gd name="connsiteX3" fmla="*/ 1726333 w 1726333"/>
              <a:gd name="connsiteY3" fmla="*/ 358636 h 3550443"/>
              <a:gd name="connsiteX4" fmla="*/ 1726333 w 1726333"/>
              <a:gd name="connsiteY4" fmla="*/ 3191807 h 3550443"/>
              <a:gd name="connsiteX5" fmla="*/ 1367697 w 1726333"/>
              <a:gd name="connsiteY5" fmla="*/ 3550443 h 3550443"/>
              <a:gd name="connsiteX6" fmla="*/ 117924 w 1726333"/>
              <a:gd name="connsiteY6" fmla="*/ 3550443 h 3550443"/>
              <a:gd name="connsiteX7" fmla="*/ 44076 w 1726333"/>
              <a:gd name="connsiteY7" fmla="*/ 2421424 h 3550443"/>
              <a:gd name="connsiteX0" fmla="*/ 102149 w 1699739"/>
              <a:gd name="connsiteY0" fmla="*/ 3537484 h 3709891"/>
              <a:gd name="connsiteX1" fmla="*/ 91330 w 1699739"/>
              <a:gd name="connsiteY1" fmla="*/ 0 h 3709891"/>
              <a:gd name="connsiteX2" fmla="*/ 1341103 w 1699739"/>
              <a:gd name="connsiteY2" fmla="*/ 0 h 3709891"/>
              <a:gd name="connsiteX3" fmla="*/ 1699739 w 1699739"/>
              <a:gd name="connsiteY3" fmla="*/ 358636 h 3709891"/>
              <a:gd name="connsiteX4" fmla="*/ 1699739 w 1699739"/>
              <a:gd name="connsiteY4" fmla="*/ 3191807 h 3709891"/>
              <a:gd name="connsiteX5" fmla="*/ 1341103 w 1699739"/>
              <a:gd name="connsiteY5" fmla="*/ 3550443 h 3709891"/>
              <a:gd name="connsiteX6" fmla="*/ 91330 w 1699739"/>
              <a:gd name="connsiteY6" fmla="*/ 3550443 h 3709891"/>
              <a:gd name="connsiteX7" fmla="*/ 102149 w 1699739"/>
              <a:gd name="connsiteY7" fmla="*/ 3537484 h 3709891"/>
              <a:gd name="connsiteX0" fmla="*/ 10819 w 1608409"/>
              <a:gd name="connsiteY0" fmla="*/ 3537484 h 3550443"/>
              <a:gd name="connsiteX1" fmla="*/ 0 w 1608409"/>
              <a:gd name="connsiteY1" fmla="*/ 0 h 3550443"/>
              <a:gd name="connsiteX2" fmla="*/ 1249773 w 1608409"/>
              <a:gd name="connsiteY2" fmla="*/ 0 h 3550443"/>
              <a:gd name="connsiteX3" fmla="*/ 1608409 w 1608409"/>
              <a:gd name="connsiteY3" fmla="*/ 358636 h 3550443"/>
              <a:gd name="connsiteX4" fmla="*/ 1608409 w 1608409"/>
              <a:gd name="connsiteY4" fmla="*/ 3191807 h 3550443"/>
              <a:gd name="connsiteX5" fmla="*/ 1249773 w 1608409"/>
              <a:gd name="connsiteY5" fmla="*/ 3550443 h 3550443"/>
              <a:gd name="connsiteX6" fmla="*/ 10819 w 1608409"/>
              <a:gd name="connsiteY6" fmla="*/ 3537484 h 35504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608409" h="3550443">
                <a:moveTo>
                  <a:pt x="10819" y="3537484"/>
                </a:moveTo>
                <a:cubicBezTo>
                  <a:pt x="10819" y="3339415"/>
                  <a:pt x="9749" y="7697"/>
                  <a:pt x="0" y="0"/>
                </a:cubicBezTo>
                <a:lnTo>
                  <a:pt x="1249773" y="0"/>
                </a:lnTo>
                <a:cubicBezTo>
                  <a:pt x="1447842" y="0"/>
                  <a:pt x="1608409" y="160567"/>
                  <a:pt x="1608409" y="358636"/>
                </a:cubicBezTo>
                <a:lnTo>
                  <a:pt x="1608409" y="3191807"/>
                </a:lnTo>
                <a:cubicBezTo>
                  <a:pt x="1608409" y="3389876"/>
                  <a:pt x="1447842" y="3550443"/>
                  <a:pt x="1249773" y="3550443"/>
                </a:cubicBezTo>
                <a:lnTo>
                  <a:pt x="10819" y="3537484"/>
                </a:lnTo>
                <a:close/>
              </a:path>
            </a:pathLst>
          </a:custGeom>
          <a:solidFill>
            <a:schemeClr val="bg2"/>
          </a:soli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84000" tIns="624000" rIns="48000" bIns="48000" rtlCol="0" anchor="t"/>
          <a:lstStyle/>
          <a:p>
            <a:r>
              <a:rPr lang="fr-FR" sz="2133" b="1" dirty="0">
                <a:solidFill>
                  <a:srgbClr val="59108D"/>
                </a:solidFill>
              </a:rPr>
              <a:t>Enjeux</a:t>
            </a:r>
          </a:p>
        </p:txBody>
      </p:sp>
      <p:cxnSp>
        <p:nvCxnSpPr>
          <p:cNvPr id="6" name="Connecteur droit 5">
            <a:extLst>
              <a:ext uri="{FF2B5EF4-FFF2-40B4-BE49-F238E27FC236}">
                <a16:creationId xmlns="" xmlns:a16="http://schemas.microsoft.com/office/drawing/2014/main" id="{6B6E0359-E6BA-C644-9D63-2957EA8E1EF2}"/>
              </a:ext>
            </a:extLst>
          </p:cNvPr>
          <p:cNvCxnSpPr>
            <a:cxnSpLocks/>
          </p:cNvCxnSpPr>
          <p:nvPr/>
        </p:nvCxnSpPr>
        <p:spPr>
          <a:xfrm>
            <a:off x="2503171" y="2384516"/>
            <a:ext cx="2685203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space réservé du texte 20">
            <a:extLst>
              <a:ext uri="{FF2B5EF4-FFF2-40B4-BE49-F238E27FC236}">
                <a16:creationId xmlns="" xmlns:a16="http://schemas.microsoft.com/office/drawing/2014/main" id="{17ED441F-475F-054A-A222-531EEF050EB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642447" y="1802293"/>
            <a:ext cx="2362200" cy="508280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8" name="Connecteur droit 7">
            <a:extLst>
              <a:ext uri="{FF2B5EF4-FFF2-40B4-BE49-F238E27FC236}">
                <a16:creationId xmlns="" xmlns:a16="http://schemas.microsoft.com/office/drawing/2014/main" id="{0F7E79E6-BDF2-124E-9DA3-A3126182ECBA}"/>
              </a:ext>
            </a:extLst>
          </p:cNvPr>
          <p:cNvCxnSpPr>
            <a:cxnSpLocks/>
          </p:cNvCxnSpPr>
          <p:nvPr/>
        </p:nvCxnSpPr>
        <p:spPr>
          <a:xfrm>
            <a:off x="5513776" y="2384516"/>
            <a:ext cx="2685203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Espace réservé du texte 20">
            <a:extLst>
              <a:ext uri="{FF2B5EF4-FFF2-40B4-BE49-F238E27FC236}">
                <a16:creationId xmlns="" xmlns:a16="http://schemas.microsoft.com/office/drawing/2014/main" id="{AC511E7F-3F69-7B4C-B7BE-A902993B140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53052" y="1802293"/>
            <a:ext cx="2362200" cy="508280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0" name="Connecteur droit 9">
            <a:extLst>
              <a:ext uri="{FF2B5EF4-FFF2-40B4-BE49-F238E27FC236}">
                <a16:creationId xmlns="" xmlns:a16="http://schemas.microsoft.com/office/drawing/2014/main" id="{2D2E755D-B667-ED49-9164-20EF22C3E758}"/>
              </a:ext>
            </a:extLst>
          </p:cNvPr>
          <p:cNvCxnSpPr>
            <a:cxnSpLocks/>
          </p:cNvCxnSpPr>
          <p:nvPr/>
        </p:nvCxnSpPr>
        <p:spPr>
          <a:xfrm>
            <a:off x="8568549" y="2384516"/>
            <a:ext cx="2685203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Espace réservé du texte 20">
            <a:extLst>
              <a:ext uri="{FF2B5EF4-FFF2-40B4-BE49-F238E27FC236}">
                <a16:creationId xmlns="" xmlns:a16="http://schemas.microsoft.com/office/drawing/2014/main" id="{327F0080-CF53-714F-94A6-E65C83856F3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707825" y="1802293"/>
            <a:ext cx="2362200" cy="508280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2" name="Connecteur droit 11">
            <a:extLst>
              <a:ext uri="{FF2B5EF4-FFF2-40B4-BE49-F238E27FC236}">
                <a16:creationId xmlns="" xmlns:a16="http://schemas.microsoft.com/office/drawing/2014/main" id="{A7A912D3-025B-E149-8DA3-9F346CE9C9A5}"/>
              </a:ext>
            </a:extLst>
          </p:cNvPr>
          <p:cNvCxnSpPr>
            <a:cxnSpLocks/>
          </p:cNvCxnSpPr>
          <p:nvPr/>
        </p:nvCxnSpPr>
        <p:spPr>
          <a:xfrm>
            <a:off x="2503171" y="5050691"/>
            <a:ext cx="2685203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20">
            <a:extLst>
              <a:ext uri="{FF2B5EF4-FFF2-40B4-BE49-F238E27FC236}">
                <a16:creationId xmlns="" xmlns:a16="http://schemas.microsoft.com/office/drawing/2014/main" id="{72A430AC-BEDE-3A48-BC29-17B5E2715A9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642447" y="4468468"/>
            <a:ext cx="2362200" cy="508280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4" name="Connecteur droit 13">
            <a:extLst>
              <a:ext uri="{FF2B5EF4-FFF2-40B4-BE49-F238E27FC236}">
                <a16:creationId xmlns="" xmlns:a16="http://schemas.microsoft.com/office/drawing/2014/main" id="{578F89FE-A4B5-6D43-A2CB-AA3CD76E6BA2}"/>
              </a:ext>
            </a:extLst>
          </p:cNvPr>
          <p:cNvCxnSpPr>
            <a:cxnSpLocks/>
          </p:cNvCxnSpPr>
          <p:nvPr/>
        </p:nvCxnSpPr>
        <p:spPr>
          <a:xfrm>
            <a:off x="5513776" y="5050691"/>
            <a:ext cx="2685203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Espace réservé du texte 20">
            <a:extLst>
              <a:ext uri="{FF2B5EF4-FFF2-40B4-BE49-F238E27FC236}">
                <a16:creationId xmlns="" xmlns:a16="http://schemas.microsoft.com/office/drawing/2014/main" id="{EF17555F-9A70-4941-985C-E5528BAD939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5653052" y="4468468"/>
            <a:ext cx="2362200" cy="508280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cxnSp>
        <p:nvCxnSpPr>
          <p:cNvPr id="16" name="Connecteur droit 15">
            <a:extLst>
              <a:ext uri="{FF2B5EF4-FFF2-40B4-BE49-F238E27FC236}">
                <a16:creationId xmlns="" xmlns:a16="http://schemas.microsoft.com/office/drawing/2014/main" id="{BA83B94D-A89C-F449-A373-07A730877030}"/>
              </a:ext>
            </a:extLst>
          </p:cNvPr>
          <p:cNvCxnSpPr>
            <a:cxnSpLocks/>
          </p:cNvCxnSpPr>
          <p:nvPr/>
        </p:nvCxnSpPr>
        <p:spPr>
          <a:xfrm>
            <a:off x="8568549" y="5050691"/>
            <a:ext cx="2685203" cy="0"/>
          </a:xfrm>
          <a:prstGeom prst="line">
            <a:avLst/>
          </a:prstGeom>
          <a:ln w="158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Espace réservé du texte 20">
            <a:extLst>
              <a:ext uri="{FF2B5EF4-FFF2-40B4-BE49-F238E27FC236}">
                <a16:creationId xmlns="" xmlns:a16="http://schemas.microsoft.com/office/drawing/2014/main" id="{9D56FDC6-9905-FB4C-AA2F-C91FA1C9B8D4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707825" y="4468468"/>
            <a:ext cx="2362200" cy="508280"/>
          </a:xfrm>
        </p:spPr>
        <p:txBody>
          <a:bodyPr/>
          <a:lstStyle>
            <a:lvl1pPr algn="ctr">
              <a:spcBef>
                <a:spcPts val="0"/>
              </a:spcBef>
              <a:defRPr>
                <a:solidFill>
                  <a:schemeClr val="accent2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pic>
        <p:nvPicPr>
          <p:cNvPr id="18" name="Image 17">
            <a:extLst>
              <a:ext uri="{FF2B5EF4-FFF2-40B4-BE49-F238E27FC236}">
                <a16:creationId xmlns="" xmlns:a16="http://schemas.microsoft.com/office/drawing/2014/main" id="{E3F47369-A1EC-FC4A-A87F-C1B4D9767F2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73095" y="998562"/>
            <a:ext cx="721813" cy="721813"/>
          </a:xfrm>
          <a:prstGeom prst="rect">
            <a:avLst/>
          </a:prstGeom>
        </p:spPr>
      </p:pic>
      <p:pic>
        <p:nvPicPr>
          <p:cNvPr id="19" name="Image 18">
            <a:extLst>
              <a:ext uri="{FF2B5EF4-FFF2-40B4-BE49-F238E27FC236}">
                <a16:creationId xmlns="" xmlns:a16="http://schemas.microsoft.com/office/drawing/2014/main" id="{79A677BF-FB35-8848-A046-4E22B326BC0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0845" y="921381"/>
            <a:ext cx="821393" cy="821393"/>
          </a:xfrm>
          <a:prstGeom prst="rect">
            <a:avLst/>
          </a:prstGeom>
        </p:spPr>
      </p:pic>
      <p:pic>
        <p:nvPicPr>
          <p:cNvPr id="20" name="Image 19">
            <a:extLst>
              <a:ext uri="{FF2B5EF4-FFF2-40B4-BE49-F238E27FC236}">
                <a16:creationId xmlns="" xmlns:a16="http://schemas.microsoft.com/office/drawing/2014/main" id="{5C257151-304C-F343-AA3E-F3F52961463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19119" y="865507"/>
            <a:ext cx="886331" cy="886331"/>
          </a:xfrm>
          <a:prstGeom prst="rect">
            <a:avLst/>
          </a:prstGeom>
        </p:spPr>
      </p:pic>
      <p:pic>
        <p:nvPicPr>
          <p:cNvPr id="21" name="Image 20">
            <a:extLst>
              <a:ext uri="{FF2B5EF4-FFF2-40B4-BE49-F238E27FC236}">
                <a16:creationId xmlns="" xmlns:a16="http://schemas.microsoft.com/office/drawing/2014/main" id="{C55E1910-6476-344B-B366-0B045C58D57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48643" y="3509380"/>
            <a:ext cx="919165" cy="919165"/>
          </a:xfrm>
          <a:prstGeom prst="rect">
            <a:avLst/>
          </a:prstGeom>
        </p:spPr>
      </p:pic>
      <p:pic>
        <p:nvPicPr>
          <p:cNvPr id="22" name="Image 21">
            <a:extLst>
              <a:ext uri="{FF2B5EF4-FFF2-40B4-BE49-F238E27FC236}">
                <a16:creationId xmlns="" xmlns:a16="http://schemas.microsoft.com/office/drawing/2014/main" id="{6453E1CE-00F7-304E-A3DF-6054A5CB74B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30845" y="3590185"/>
            <a:ext cx="814220" cy="814220"/>
          </a:xfrm>
          <a:prstGeom prst="rect">
            <a:avLst/>
          </a:prstGeom>
        </p:spPr>
      </p:pic>
      <p:pic>
        <p:nvPicPr>
          <p:cNvPr id="24" name="Image 23">
            <a:extLst>
              <a:ext uri="{FF2B5EF4-FFF2-40B4-BE49-F238E27FC236}">
                <a16:creationId xmlns="" xmlns:a16="http://schemas.microsoft.com/office/drawing/2014/main" id="{6EB20B3D-DBDB-7E44-A01F-99096AAE9CB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1714" y="3687489"/>
            <a:ext cx="681140" cy="679148"/>
          </a:xfrm>
          <a:prstGeom prst="rect">
            <a:avLst/>
          </a:prstGeom>
        </p:spPr>
      </p:pic>
      <p:sp>
        <p:nvSpPr>
          <p:cNvPr id="25" name="Espace réservé du texte 12">
            <a:extLst>
              <a:ext uri="{FF2B5EF4-FFF2-40B4-BE49-F238E27FC236}">
                <a16:creationId xmlns="" xmlns:a16="http://schemas.microsoft.com/office/drawing/2014/main" id="{45D53B6F-B12B-1A45-B2C9-D5EBD07CC92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2517359" y="2432242"/>
            <a:ext cx="2675531" cy="1169940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6" name="Espace réservé du texte 12">
            <a:extLst>
              <a:ext uri="{FF2B5EF4-FFF2-40B4-BE49-F238E27FC236}">
                <a16:creationId xmlns="" xmlns:a16="http://schemas.microsoft.com/office/drawing/2014/main" id="{30D800C7-7810-9747-AA10-75BD199D604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522255" y="2430189"/>
            <a:ext cx="2675531" cy="1169940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7" name="Espace réservé du texte 12">
            <a:extLst>
              <a:ext uri="{FF2B5EF4-FFF2-40B4-BE49-F238E27FC236}">
                <a16:creationId xmlns="" xmlns:a16="http://schemas.microsoft.com/office/drawing/2014/main" id="{3393DE21-7C60-9341-B49A-7016AF5F15B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570256" y="2430189"/>
            <a:ext cx="2675531" cy="1169940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8" name="Espace réservé du texte 12">
            <a:extLst>
              <a:ext uri="{FF2B5EF4-FFF2-40B4-BE49-F238E27FC236}">
                <a16:creationId xmlns="" xmlns:a16="http://schemas.microsoft.com/office/drawing/2014/main" id="{01070B25-C23B-DE49-ABE7-5EBE319AAA3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2515305" y="5098471"/>
            <a:ext cx="2675531" cy="1169940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9" name="Espace réservé du texte 12">
            <a:extLst>
              <a:ext uri="{FF2B5EF4-FFF2-40B4-BE49-F238E27FC236}">
                <a16:creationId xmlns="" xmlns:a16="http://schemas.microsoft.com/office/drawing/2014/main" id="{CE223EEB-FD15-474A-83D9-1A56E4E8EFA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5532519" y="5098471"/>
            <a:ext cx="2675531" cy="1169940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0" name="Espace réservé du texte 12">
            <a:extLst>
              <a:ext uri="{FF2B5EF4-FFF2-40B4-BE49-F238E27FC236}">
                <a16:creationId xmlns="" xmlns:a16="http://schemas.microsoft.com/office/drawing/2014/main" id="{7670F174-79F1-1B4A-9BE5-DF0A9CCBB30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570256" y="5098471"/>
            <a:ext cx="2675531" cy="1169940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Espace réservé du texte 12">
            <a:extLst>
              <a:ext uri="{FF2B5EF4-FFF2-40B4-BE49-F238E27FC236}">
                <a16:creationId xmlns="" xmlns:a16="http://schemas.microsoft.com/office/drawing/2014/main" id="{8BDF08A2-1487-1C41-A7EF-A8B93575B33B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70416" y="2358351"/>
            <a:ext cx="1632000" cy="3388720"/>
          </a:xfrm>
        </p:spPr>
        <p:txBody>
          <a:bodyPr/>
          <a:lstStyle>
            <a:lvl1pPr>
              <a:defRPr sz="1067" b="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2" name="Délai  3">
            <a:extLst>
              <a:ext uri="{FF2B5EF4-FFF2-40B4-BE49-F238E27FC236}">
                <a16:creationId xmlns="" xmlns:a16="http://schemas.microsoft.com/office/drawing/2014/main" id="{C90730CE-B32E-48F7-BC75-E12F72356116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64638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25958C6B-3BF8-A944-B57D-C5F4FEC4C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Délai  3">
            <a:extLst>
              <a:ext uri="{FF2B5EF4-FFF2-40B4-BE49-F238E27FC236}">
                <a16:creationId xmlns="" xmlns:a16="http://schemas.microsoft.com/office/drawing/2014/main" id="{F857A43C-7883-47E8-9C7A-61CFB405B424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93445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/>
              <a:t>Présanse</a:t>
            </a:r>
            <a:r>
              <a:rPr lang="fr-FR" dirty="0" smtClean="0"/>
              <a:t> </a:t>
            </a:r>
            <a:r>
              <a:rPr lang="mr-IN" dirty="0" smtClean="0"/>
              <a:t>–</a:t>
            </a:r>
            <a:r>
              <a:rPr lang="fr-FR" dirty="0" smtClean="0"/>
              <a:t> Masque Powerpoint / JJ.MM.AAAA</a:t>
            </a:r>
            <a:endParaRPr lang="fr-FR" dirty="0"/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0" name="Arc 9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ge conten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1678897" y="1516063"/>
            <a:ext cx="9686015" cy="463654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 marL="457200" indent="0">
              <a:buNone/>
              <a:defRPr>
                <a:solidFill>
                  <a:schemeClr val="tx1"/>
                </a:solidFill>
              </a:defRPr>
            </a:lvl2pPr>
          </a:lstStyle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marL="742950" lvl="1" indent="-285750">
              <a:spcBef>
                <a:spcPts val="1000"/>
              </a:spcBef>
              <a:buClr>
                <a:srgbClr val="029EE3"/>
              </a:buClr>
              <a:buFont typeface="Wingdings" charset="2"/>
              <a:buChar char="§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sz="1600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marL="800100" lvl="1" indent="-342900">
              <a:spcBef>
                <a:spcPts val="1000"/>
              </a:spcBef>
              <a:buClr>
                <a:srgbClr val="029EE3"/>
              </a:buClr>
              <a:buFont typeface="+mj-lt"/>
              <a:buAutoNum type="arabicPeriod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800100" lvl="1" indent="-342900">
              <a:buClr>
                <a:srgbClr val="029EE3"/>
              </a:buClr>
              <a:buFont typeface="+mj-lt"/>
              <a:buAutoNum type="arabicPeriod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800100" lvl="1" indent="-342900">
              <a:buClr>
                <a:srgbClr val="029EE3"/>
              </a:buClr>
              <a:buFont typeface="+mj-lt"/>
              <a:buAutoNum type="arabicPeriod"/>
            </a:pPr>
            <a:endParaRPr lang="fr-FR" sz="1600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lvl="1">
              <a:spcBef>
                <a:spcPts val="1000"/>
              </a:spcBef>
              <a:buClr>
                <a:srgbClr val="029EE3"/>
              </a:buClr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sz="1600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endParaRPr lang="fr-FR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re + Sous-titre seu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25958C6B-3BF8-A944-B57D-C5F4FEC4C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Délai  3">
            <a:extLst>
              <a:ext uri="{FF2B5EF4-FFF2-40B4-BE49-F238E27FC236}">
                <a16:creationId xmlns="" xmlns:a16="http://schemas.microsoft.com/office/drawing/2014/main" id="{F857A43C-7883-47E8-9C7A-61CFB405B424}"/>
              </a:ext>
            </a:extLst>
          </p:cNvPr>
          <p:cNvSpPr/>
          <p:nvPr/>
        </p:nvSpPr>
        <p:spPr>
          <a:xfrm rot="5400000">
            <a:off x="10829" y="308750"/>
            <a:ext cx="944983" cy="327489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0 w 1875346"/>
              <a:gd name="connsiteY0" fmla="*/ 7071 h 622448"/>
              <a:gd name="connsiteX1" fmla="*/ 1569022 w 1875346"/>
              <a:gd name="connsiteY1" fmla="*/ 0 h 622448"/>
              <a:gd name="connsiteX2" fmla="*/ 1875346 w 1875346"/>
              <a:gd name="connsiteY2" fmla="*/ 306324 h 622448"/>
              <a:gd name="connsiteX3" fmla="*/ 1569022 w 1875346"/>
              <a:gd name="connsiteY3" fmla="*/ 612648 h 622448"/>
              <a:gd name="connsiteX4" fmla="*/ 381887 w 1875346"/>
              <a:gd name="connsiteY4" fmla="*/ 622448 h 622448"/>
              <a:gd name="connsiteX5" fmla="*/ 0 w 1875346"/>
              <a:gd name="connsiteY5" fmla="*/ 7071 h 622448"/>
              <a:gd name="connsiteX0" fmla="*/ 0 w 1875346"/>
              <a:gd name="connsiteY0" fmla="*/ 7071 h 612648"/>
              <a:gd name="connsiteX1" fmla="*/ 1569022 w 1875346"/>
              <a:gd name="connsiteY1" fmla="*/ 0 h 612648"/>
              <a:gd name="connsiteX2" fmla="*/ 1875346 w 1875346"/>
              <a:gd name="connsiteY2" fmla="*/ 306324 h 612648"/>
              <a:gd name="connsiteX3" fmla="*/ 1569022 w 1875346"/>
              <a:gd name="connsiteY3" fmla="*/ 612648 h 612648"/>
              <a:gd name="connsiteX4" fmla="*/ 68 w 1875346"/>
              <a:gd name="connsiteY4" fmla="*/ 608307 h 612648"/>
              <a:gd name="connsiteX5" fmla="*/ 0 w 1875346"/>
              <a:gd name="connsiteY5" fmla="*/ 7071 h 612648"/>
              <a:gd name="connsiteX0" fmla="*/ 80462 w 1875280"/>
              <a:gd name="connsiteY0" fmla="*/ 0 h 613630"/>
              <a:gd name="connsiteX1" fmla="*/ 1568956 w 1875280"/>
              <a:gd name="connsiteY1" fmla="*/ 982 h 613630"/>
              <a:gd name="connsiteX2" fmla="*/ 1875280 w 1875280"/>
              <a:gd name="connsiteY2" fmla="*/ 307306 h 613630"/>
              <a:gd name="connsiteX3" fmla="*/ 1568956 w 1875280"/>
              <a:gd name="connsiteY3" fmla="*/ 613630 h 613630"/>
              <a:gd name="connsiteX4" fmla="*/ 2 w 1875280"/>
              <a:gd name="connsiteY4" fmla="*/ 609289 h 613630"/>
              <a:gd name="connsiteX5" fmla="*/ 80462 w 1875280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16175 w 1794818"/>
              <a:gd name="connsiteY4" fmla="*/ 609287 h 613630"/>
              <a:gd name="connsiteX5" fmla="*/ 0 w 1794818"/>
              <a:gd name="connsiteY5" fmla="*/ 0 h 613630"/>
              <a:gd name="connsiteX0" fmla="*/ 0 w 1794818"/>
              <a:gd name="connsiteY0" fmla="*/ 0 h 613630"/>
              <a:gd name="connsiteX1" fmla="*/ 1488494 w 1794818"/>
              <a:gd name="connsiteY1" fmla="*/ 982 h 613630"/>
              <a:gd name="connsiteX2" fmla="*/ 1794818 w 1794818"/>
              <a:gd name="connsiteY2" fmla="*/ 307306 h 613630"/>
              <a:gd name="connsiteX3" fmla="*/ 1488494 w 1794818"/>
              <a:gd name="connsiteY3" fmla="*/ 613630 h 613630"/>
              <a:gd name="connsiteX4" fmla="*/ 24228 w 1794818"/>
              <a:gd name="connsiteY4" fmla="*/ 609287 h 613630"/>
              <a:gd name="connsiteX5" fmla="*/ 0 w 1794818"/>
              <a:gd name="connsiteY5" fmla="*/ 0 h 613630"/>
              <a:gd name="connsiteX0" fmla="*/ 1 w 1770652"/>
              <a:gd name="connsiteY0" fmla="*/ -1 h 613630"/>
              <a:gd name="connsiteX1" fmla="*/ 1464328 w 1770652"/>
              <a:gd name="connsiteY1" fmla="*/ 982 h 613630"/>
              <a:gd name="connsiteX2" fmla="*/ 1770652 w 1770652"/>
              <a:gd name="connsiteY2" fmla="*/ 307306 h 613630"/>
              <a:gd name="connsiteX3" fmla="*/ 1464328 w 1770652"/>
              <a:gd name="connsiteY3" fmla="*/ 613630 h 613630"/>
              <a:gd name="connsiteX4" fmla="*/ 62 w 1770652"/>
              <a:gd name="connsiteY4" fmla="*/ 609287 h 613630"/>
              <a:gd name="connsiteX5" fmla="*/ 1 w 1770652"/>
              <a:gd name="connsiteY5" fmla="*/ -1 h 6136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70652" h="613630">
                <a:moveTo>
                  <a:pt x="1" y="-1"/>
                </a:moveTo>
                <a:lnTo>
                  <a:pt x="1464328" y="982"/>
                </a:lnTo>
                <a:cubicBezTo>
                  <a:pt x="1633506" y="982"/>
                  <a:pt x="1770652" y="138128"/>
                  <a:pt x="1770652" y="307306"/>
                </a:cubicBezTo>
                <a:cubicBezTo>
                  <a:pt x="1770652" y="476484"/>
                  <a:pt x="1633506" y="613630"/>
                  <a:pt x="1464328" y="613630"/>
                </a:cubicBezTo>
                <a:lnTo>
                  <a:pt x="62" y="609287"/>
                </a:lnTo>
                <a:cubicBezTo>
                  <a:pt x="39" y="401804"/>
                  <a:pt x="24" y="207482"/>
                  <a:pt x="1" y="-1"/>
                </a:cubicBezTo>
                <a:close/>
              </a:path>
            </a:pathLst>
          </a:custGeom>
          <a:solidFill>
            <a:srgbClr val="5A10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4" name="Espace réservé du texte 2">
            <a:extLst>
              <a:ext uri="{FF2B5EF4-FFF2-40B4-BE49-F238E27FC236}">
                <a16:creationId xmlns="" xmlns:a16="http://schemas.microsoft.com/office/drawing/2014/main" id="{6E9D034D-D0F5-4E73-A50C-0FDAF595460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16477" y="753356"/>
            <a:ext cx="10560607" cy="458837"/>
          </a:xfrm>
        </p:spPr>
        <p:txBody>
          <a:bodyPr/>
          <a:lstStyle>
            <a:lvl1pPr>
              <a:spcBef>
                <a:spcPts val="0"/>
              </a:spcBef>
              <a:defRPr lang="fr-FR" sz="1600" b="0" i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5054484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47B2715C-CD86-4292-82A4-15BF649554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Sous-titre 2">
            <a:extLst>
              <a:ext uri="{FF2B5EF4-FFF2-40B4-BE49-F238E27FC236}">
                <a16:creationId xmlns="" xmlns:a16="http://schemas.microsoft.com/office/drawing/2014/main" id="{285F897A-29C2-4F7D-833C-7ECD56D01F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="" xmlns:a16="http://schemas.microsoft.com/office/drawing/2014/main" id="{6EB3599C-DA22-426F-81E9-567E4D1D73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D22577-9D8E-4D9E-BB4F-8045CACED4EA}" type="datetimeFigureOut">
              <a:rPr lang="fr-FR" smtClean="0">
                <a:solidFill>
                  <a:srgbClr val="323748"/>
                </a:solidFill>
              </a:rPr>
              <a:pPr/>
              <a:t>20/05/2020</a:t>
            </a:fld>
            <a:endParaRPr lang="fr-FR" dirty="0">
              <a:solidFill>
                <a:srgbClr val="323748"/>
              </a:solidFill>
            </a:endParaRPr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="" xmlns:a16="http://schemas.microsoft.com/office/drawing/2014/main" id="{2C1278B1-50BE-4EA2-90BF-F2A0668502E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>
              <a:solidFill>
                <a:srgbClr val="323748"/>
              </a:solidFill>
            </a:endParaRP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="" xmlns:a16="http://schemas.microsoft.com/office/drawing/2014/main" id="{B963BFCB-1F85-415F-8D7D-E8AFDAFF30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5325702-1658-489A-A3C4-0D5E9737463B}" type="slidenum">
              <a:rPr lang="fr-FR" smtClean="0">
                <a:solidFill>
                  <a:srgbClr val="323748"/>
                </a:solidFill>
              </a:rPr>
              <a:pPr/>
              <a:t>‹N°›</a:t>
            </a:fld>
            <a:endParaRPr lang="fr-FR" dirty="0">
              <a:solidFill>
                <a:srgbClr val="3237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07861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="" xmlns:a16="http://schemas.microsoft.com/office/drawing/2014/main" id="{25958C6B-3BF8-A944-B57D-C5F4FEC4CB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="" xmlns:a16="http://schemas.microsoft.com/office/drawing/2014/main" id="{A2A7B53F-7D9B-E84B-9262-FBBD31276D1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>
                <a:solidFill>
                  <a:srgbClr val="323748"/>
                </a:solidFill>
              </a:rPr>
              <a:t>Informations à saisir en bas de page</a:t>
            </a:r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="" xmlns:a16="http://schemas.microsoft.com/office/drawing/2014/main" id="{D4D0BD42-A436-3140-9AE2-80BE1AEC02A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11A20EE6-9D0E-4D2E-AC18-D673A8617645}" type="slidenum">
              <a:rPr lang="en-US" smtClean="0">
                <a:solidFill>
                  <a:srgbClr val="323748"/>
                </a:solidFill>
              </a:rPr>
              <a:pPr/>
              <a:t>‹N°›</a:t>
            </a:fld>
            <a:endParaRPr lang="en-US" dirty="0">
              <a:solidFill>
                <a:srgbClr val="32374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602462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couvertur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 bwMode="auto">
          <a:xfrm>
            <a:off x="-3524" y="18079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>
              <a:solidFill>
                <a:srgbClr val="555654"/>
              </a:solidFill>
            </a:endParaRPr>
          </a:p>
        </p:txBody>
      </p:sp>
      <p:pic>
        <p:nvPicPr>
          <p:cNvPr id="6" name="Image 4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111125" y="-11113"/>
            <a:ext cx="12411075" cy="22701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813" y="549275"/>
            <a:ext cx="3249612" cy="1065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Espace réservé du texte 18"/>
          <p:cNvSpPr>
            <a:spLocks noGrp="1"/>
          </p:cNvSpPr>
          <p:nvPr>
            <p:ph type="body" sz="quarter" idx="13"/>
          </p:nvPr>
        </p:nvSpPr>
        <p:spPr>
          <a:xfrm>
            <a:off x="2841446" y="4370091"/>
            <a:ext cx="6505575" cy="425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/>
          </p:nvPr>
        </p:nvSpPr>
        <p:spPr>
          <a:xfrm>
            <a:off x="3022600" y="3376613"/>
            <a:ext cx="6146800" cy="8302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>
                <a:ln>
                  <a:noFill/>
                </a:ln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/>
          </p:nvPr>
        </p:nvSpPr>
        <p:spPr>
          <a:xfrm>
            <a:off x="2495239" y="6087532"/>
            <a:ext cx="6933005" cy="8096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8" name="Espace réservé du pied de page 2"/>
          <p:cNvSpPr>
            <a:spLocks noGrp="1"/>
          </p:cNvSpPr>
          <p:nvPr>
            <p:ph type="ftr" sz="quarter" idx="16"/>
          </p:nvPr>
        </p:nvSpPr>
        <p:spPr>
          <a:xfrm>
            <a:off x="6419850" y="6356350"/>
            <a:ext cx="41148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55654"/>
                </a:solidFill>
                <a:latin typeface="+mn-lt"/>
              </a:defRPr>
            </a:lvl1pPr>
          </a:lstStyle>
          <a:p>
            <a:pPr>
              <a:defRPr/>
            </a:pPr>
            <a:endParaRPr lang="fr-FR" dirty="0"/>
          </a:p>
        </p:txBody>
      </p:sp>
      <p:sp>
        <p:nvSpPr>
          <p:cNvPr id="9" name="Espace réservé du numéro de diapositive 3"/>
          <p:cNvSpPr>
            <a:spLocks noGrp="1"/>
          </p:cNvSpPr>
          <p:nvPr>
            <p:ph type="sldNum" sz="quarter" idx="17"/>
          </p:nvPr>
        </p:nvSpPr>
        <p:spPr>
          <a:xfrm>
            <a:off x="260350" y="6356350"/>
            <a:ext cx="2743200" cy="365125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solidFill>
                  <a:srgbClr val="555654"/>
                </a:solidFill>
                <a:latin typeface="+mn-lt"/>
              </a:defRPr>
            </a:lvl1pPr>
          </a:lstStyle>
          <a:p>
            <a:pPr>
              <a:defRPr/>
            </a:pPr>
            <a:fld id="{71F4F1C6-A07D-4DAF-AB3A-FE4E1083F402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3952524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er 8"/>
          <p:cNvGrpSpPr>
            <a:grpSpLocks/>
          </p:cNvGrpSpPr>
          <p:nvPr userDrawn="1"/>
        </p:nvGrpSpPr>
        <p:grpSpPr bwMode="auto">
          <a:xfrm>
            <a:off x="1636713" y="1450975"/>
            <a:ext cx="569912" cy="584200"/>
            <a:chOff x="2812746" y="1902748"/>
            <a:chExt cx="570016" cy="584775"/>
          </a:xfrm>
        </p:grpSpPr>
        <p:sp>
          <p:nvSpPr>
            <p:cNvPr id="18" name="Ellipse 17"/>
            <p:cNvSpPr/>
            <p:nvPr/>
          </p:nvSpPr>
          <p:spPr>
            <a:xfrm>
              <a:off x="2812746" y="1912282"/>
              <a:ext cx="570016" cy="568884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9" name="ZoneTexte 18"/>
            <p:cNvSpPr txBox="1">
              <a:spLocks noChangeArrowheads="1"/>
            </p:cNvSpPr>
            <p:nvPr/>
          </p:nvSpPr>
          <p:spPr bwMode="auto">
            <a:xfrm>
              <a:off x="2941356" y="1902748"/>
              <a:ext cx="342963" cy="584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fr-FR" altLang="fr-FR" sz="3200">
                  <a:solidFill>
                    <a:srgbClr val="FFFFFF"/>
                  </a:solidFill>
                  <a:latin typeface="Montserrat" panose="00000500000000000000" pitchFamily="2" charset="0"/>
                  <a:ea typeface="Montserrat" panose="00000500000000000000" pitchFamily="2" charset="0"/>
                  <a:cs typeface="Montserrat" panose="00000500000000000000" pitchFamily="2" charset="0"/>
                </a:rPr>
                <a:t>1</a:t>
              </a:r>
            </a:p>
          </p:txBody>
        </p:sp>
      </p:grpSp>
      <p:sp>
        <p:nvSpPr>
          <p:cNvPr id="20" name="Arc 19"/>
          <p:cNvSpPr/>
          <p:nvPr userDrawn="1"/>
        </p:nvSpPr>
        <p:spPr>
          <a:xfrm>
            <a:off x="-4040188" y="-1939925"/>
            <a:ext cx="4868863" cy="10980738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555654"/>
              </a:solidFill>
            </a:endParaRPr>
          </a:p>
        </p:txBody>
      </p:sp>
      <p:sp>
        <p:nvSpPr>
          <p:cNvPr id="21" name="Rectangle 20"/>
          <p:cNvSpPr/>
          <p:nvPr userDrawn="1"/>
        </p:nvSpPr>
        <p:spPr>
          <a:xfrm>
            <a:off x="942975" y="979488"/>
            <a:ext cx="1471613" cy="5873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47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0" name="Espace réservé du texte 49"/>
          <p:cNvSpPr>
            <a:spLocks noGrp="1"/>
          </p:cNvSpPr>
          <p:nvPr>
            <p:ph type="body" sz="quarter" idx="11"/>
          </p:nvPr>
        </p:nvSpPr>
        <p:spPr>
          <a:xfrm>
            <a:off x="2414899" y="1902910"/>
            <a:ext cx="3653680" cy="119049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2" name="Espace réservé du texte 51"/>
          <p:cNvSpPr>
            <a:spLocks noGrp="1"/>
          </p:cNvSpPr>
          <p:nvPr>
            <p:ph type="body" sz="quarter" idx="12"/>
          </p:nvPr>
        </p:nvSpPr>
        <p:spPr>
          <a:xfrm>
            <a:off x="2414899" y="1460174"/>
            <a:ext cx="2844227" cy="334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3" name="Espace réservé du texte 49"/>
          <p:cNvSpPr>
            <a:spLocks noGrp="1"/>
          </p:cNvSpPr>
          <p:nvPr>
            <p:ph type="body" sz="quarter" idx="13"/>
          </p:nvPr>
        </p:nvSpPr>
        <p:spPr>
          <a:xfrm>
            <a:off x="2414899" y="3641320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4" name="Espace réservé du texte 51"/>
          <p:cNvSpPr>
            <a:spLocks noGrp="1"/>
          </p:cNvSpPr>
          <p:nvPr>
            <p:ph type="body" sz="quarter" idx="14"/>
          </p:nvPr>
        </p:nvSpPr>
        <p:spPr>
          <a:xfrm>
            <a:off x="2414899" y="3243554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5" name="Espace réservé du texte 49"/>
          <p:cNvSpPr>
            <a:spLocks noGrp="1"/>
          </p:cNvSpPr>
          <p:nvPr>
            <p:ph type="body" sz="quarter" idx="15"/>
          </p:nvPr>
        </p:nvSpPr>
        <p:spPr>
          <a:xfrm>
            <a:off x="2414899" y="5193648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6" name="Espace réservé du texte 51"/>
          <p:cNvSpPr>
            <a:spLocks noGrp="1"/>
          </p:cNvSpPr>
          <p:nvPr>
            <p:ph type="body" sz="quarter" idx="16"/>
          </p:nvPr>
        </p:nvSpPr>
        <p:spPr>
          <a:xfrm>
            <a:off x="2414899" y="4803337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7" name="Espace réservé du texte 49"/>
          <p:cNvSpPr>
            <a:spLocks noGrp="1"/>
          </p:cNvSpPr>
          <p:nvPr>
            <p:ph type="body" sz="quarter" idx="17"/>
          </p:nvPr>
        </p:nvSpPr>
        <p:spPr>
          <a:xfrm>
            <a:off x="7505563" y="1922857"/>
            <a:ext cx="3653680" cy="119049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58" name="Espace réservé du texte 51"/>
          <p:cNvSpPr>
            <a:spLocks noGrp="1"/>
          </p:cNvSpPr>
          <p:nvPr>
            <p:ph type="body" sz="quarter" idx="18"/>
          </p:nvPr>
        </p:nvSpPr>
        <p:spPr>
          <a:xfrm>
            <a:off x="7505563" y="1480121"/>
            <a:ext cx="2844227" cy="334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9" name="Espace réservé du texte 49"/>
          <p:cNvSpPr>
            <a:spLocks noGrp="1"/>
          </p:cNvSpPr>
          <p:nvPr>
            <p:ph type="body" sz="quarter" idx="19"/>
          </p:nvPr>
        </p:nvSpPr>
        <p:spPr>
          <a:xfrm>
            <a:off x="7505563" y="3661267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0" name="Espace réservé du texte 51"/>
          <p:cNvSpPr>
            <a:spLocks noGrp="1"/>
          </p:cNvSpPr>
          <p:nvPr>
            <p:ph type="body" sz="quarter" idx="20"/>
          </p:nvPr>
        </p:nvSpPr>
        <p:spPr>
          <a:xfrm>
            <a:off x="7505563" y="3263501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1" name="Espace réservé du texte 49"/>
          <p:cNvSpPr>
            <a:spLocks noGrp="1"/>
          </p:cNvSpPr>
          <p:nvPr>
            <p:ph type="body" sz="quarter" idx="21"/>
          </p:nvPr>
        </p:nvSpPr>
        <p:spPr>
          <a:xfrm>
            <a:off x="7505563" y="5213595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</p:txBody>
      </p:sp>
      <p:sp>
        <p:nvSpPr>
          <p:cNvPr id="62" name="Espace réservé du texte 51"/>
          <p:cNvSpPr>
            <a:spLocks noGrp="1"/>
          </p:cNvSpPr>
          <p:nvPr>
            <p:ph type="body" sz="quarter" idx="22"/>
          </p:nvPr>
        </p:nvSpPr>
        <p:spPr>
          <a:xfrm>
            <a:off x="7505563" y="4823284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3" name="Espace réservé du texte 49"/>
          <p:cNvSpPr>
            <a:spLocks noGrp="1"/>
          </p:cNvSpPr>
          <p:nvPr>
            <p:ph type="body" sz="quarter" idx="23"/>
          </p:nvPr>
        </p:nvSpPr>
        <p:spPr>
          <a:xfrm>
            <a:off x="7212674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44" name="Espace réservé du texte 49"/>
          <p:cNvSpPr>
            <a:spLocks noGrp="1"/>
          </p:cNvSpPr>
          <p:nvPr>
            <p:ph type="body" sz="quarter" idx="24"/>
          </p:nvPr>
        </p:nvSpPr>
        <p:spPr>
          <a:xfrm>
            <a:off x="545503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36564532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0" y="0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>
              <a:solidFill>
                <a:srgbClr val="555654"/>
              </a:solidFill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/>
          </p:nvPr>
        </p:nvSpPr>
        <p:spPr>
          <a:xfrm>
            <a:off x="2339101" y="2799683"/>
            <a:ext cx="7510271" cy="5254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/>
          </p:nvPr>
        </p:nvSpPr>
        <p:spPr>
          <a:xfrm>
            <a:off x="3590131" y="3511550"/>
            <a:ext cx="5011738" cy="6334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01239251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contenu 1 lig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942975" y="976313"/>
            <a:ext cx="1471613" cy="60325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Arc 9"/>
          <p:cNvSpPr/>
          <p:nvPr userDrawn="1"/>
        </p:nvSpPr>
        <p:spPr>
          <a:xfrm>
            <a:off x="-4040188" y="-1924050"/>
            <a:ext cx="4868863" cy="10980738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555654"/>
              </a:solidFill>
            </a:endParaRPr>
          </a:p>
        </p:txBody>
      </p:sp>
      <p:sp>
        <p:nvSpPr>
          <p:cNvPr id="5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828446" y="396069"/>
            <a:ext cx="10536466" cy="563301"/>
          </a:xfrm>
          <a:prstGeom prst="rect">
            <a:avLst/>
          </a:prstGeom>
        </p:spPr>
        <p:txBody>
          <a:bodyPr/>
          <a:lstStyle>
            <a:lvl1pPr marL="0" indent="0" defTabSz="55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/>
          </p:nvPr>
        </p:nvSpPr>
        <p:spPr>
          <a:xfrm>
            <a:off x="1678897" y="1503683"/>
            <a:ext cx="9686015" cy="4450022"/>
          </a:xfrm>
          <a:prstGeom prst="rect">
            <a:avLst/>
          </a:prstGeom>
        </p:spPr>
        <p:txBody>
          <a:bodyPr/>
          <a:lstStyle>
            <a:lvl1pPr marL="228600" indent="-228600">
              <a:buSzPct val="125000"/>
              <a:buFont typeface="Wingdings" charset="2"/>
              <a:buChar char="§"/>
              <a:defRPr sz="2000">
                <a:solidFill>
                  <a:schemeClr val="tx1"/>
                </a:solidFill>
              </a:defRPr>
            </a:lvl1pPr>
            <a:lvl2pPr marL="685800" indent="-228600">
              <a:buFont typeface="Wingdings" charset="2"/>
              <a:buChar char="§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7" name="Espace réservé du texte 49"/>
          <p:cNvSpPr>
            <a:spLocks noGrp="1"/>
          </p:cNvSpPr>
          <p:nvPr>
            <p:ph type="body" sz="quarter" idx="23"/>
          </p:nvPr>
        </p:nvSpPr>
        <p:spPr>
          <a:xfrm>
            <a:off x="7212674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8" name="Espace réservé du texte 49"/>
          <p:cNvSpPr>
            <a:spLocks noGrp="1"/>
          </p:cNvSpPr>
          <p:nvPr>
            <p:ph type="body" sz="quarter" idx="24"/>
          </p:nvPr>
        </p:nvSpPr>
        <p:spPr>
          <a:xfrm>
            <a:off x="545503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25"/>
          </p:nvPr>
        </p:nvSpPr>
        <p:spPr>
          <a:xfrm>
            <a:off x="458946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rgbClr val="555654">
                    <a:tint val="75000"/>
                  </a:srgb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pPr>
              <a:defRPr/>
            </a:pPr>
            <a:fld id="{13F10855-CA05-470F-B76E-90D0A31E7B90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64336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contenu 2 lig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942975" y="1516063"/>
            <a:ext cx="1471613" cy="5873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0" name="Arc 9"/>
          <p:cNvSpPr/>
          <p:nvPr userDrawn="1"/>
        </p:nvSpPr>
        <p:spPr>
          <a:xfrm>
            <a:off x="-4040188" y="-1924050"/>
            <a:ext cx="4868863" cy="10980738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555654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828446" y="396069"/>
            <a:ext cx="10536466" cy="1119995"/>
          </a:xfrm>
          <a:prstGeom prst="rect">
            <a:avLst/>
          </a:prstGeom>
        </p:spPr>
        <p:txBody>
          <a:bodyPr/>
          <a:lstStyle>
            <a:lvl1pPr marL="0" indent="0" defTabSz="55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/>
          </p:nvPr>
        </p:nvSpPr>
        <p:spPr>
          <a:xfrm>
            <a:off x="1678897" y="1752341"/>
            <a:ext cx="9686015" cy="4450022"/>
          </a:xfrm>
          <a:prstGeom prst="rect">
            <a:avLst/>
          </a:prstGeom>
        </p:spPr>
        <p:txBody>
          <a:bodyPr/>
          <a:lstStyle>
            <a:lvl1pPr marL="228600" indent="-228600">
              <a:buSzPct val="125000"/>
              <a:buFont typeface="Wingdings" charset="2"/>
              <a:buChar char="§"/>
              <a:defRPr sz="2000">
                <a:solidFill>
                  <a:schemeClr val="tx1"/>
                </a:solidFill>
              </a:defRPr>
            </a:lvl1pPr>
            <a:lvl2pPr marL="685800" indent="-228600">
              <a:buFont typeface="Wingdings" charset="2"/>
              <a:buChar char="§"/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8" name="Espace réservé du texte 49"/>
          <p:cNvSpPr>
            <a:spLocks noGrp="1"/>
          </p:cNvSpPr>
          <p:nvPr>
            <p:ph type="body" sz="quarter" idx="23"/>
          </p:nvPr>
        </p:nvSpPr>
        <p:spPr>
          <a:xfrm>
            <a:off x="7212674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49"/>
          <p:cNvSpPr>
            <a:spLocks noGrp="1"/>
          </p:cNvSpPr>
          <p:nvPr>
            <p:ph type="body" sz="quarter" idx="24"/>
          </p:nvPr>
        </p:nvSpPr>
        <p:spPr>
          <a:xfrm>
            <a:off x="545503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1" name="Espace réservé du numéro de diapositive 5"/>
          <p:cNvSpPr>
            <a:spLocks noGrp="1"/>
          </p:cNvSpPr>
          <p:nvPr>
            <p:ph type="sldNum" sz="quarter" idx="25"/>
          </p:nvPr>
        </p:nvSpPr>
        <p:spPr>
          <a:xfrm>
            <a:off x="458946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rgbClr val="555654">
                    <a:tint val="75000"/>
                  </a:srgb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pPr>
              <a:defRPr/>
            </a:pPr>
            <a:fld id="{19A4010E-F2EA-4834-834E-E0B3030A08FD}" type="slidenum">
              <a:rPr lang="fr-FR"/>
              <a:pPr>
                <a:defRPr/>
              </a:pPr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0112258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Arc 6"/>
          <p:cNvSpPr/>
          <p:nvPr userDrawn="1"/>
        </p:nvSpPr>
        <p:spPr>
          <a:xfrm>
            <a:off x="-4040188" y="-1939925"/>
            <a:ext cx="4868863" cy="10980738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555654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942975" y="979488"/>
            <a:ext cx="1471613" cy="5873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" name="Espace réservé du tableau 2"/>
          <p:cNvSpPr>
            <a:spLocks noGrp="1"/>
          </p:cNvSpPr>
          <p:nvPr>
            <p:ph type="tbl" sz="quarter" idx="11"/>
          </p:nvPr>
        </p:nvSpPr>
        <p:spPr>
          <a:xfrm>
            <a:off x="1589088" y="2255534"/>
            <a:ext cx="9158287" cy="3823306"/>
          </a:xfrm>
          <a:prstGeom prst="rect">
            <a:avLst/>
          </a:prstGeom>
        </p:spPr>
        <p:txBody>
          <a:bodyPr/>
          <a:lstStyle/>
          <a:p>
            <a:pPr lvl="0"/>
            <a:endParaRPr lang="fr-FR" noProof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942975" y="1274763"/>
            <a:ext cx="9804400" cy="703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49"/>
          <p:cNvSpPr>
            <a:spLocks noGrp="1"/>
          </p:cNvSpPr>
          <p:nvPr>
            <p:ph type="body" sz="quarter" idx="23"/>
          </p:nvPr>
        </p:nvSpPr>
        <p:spPr>
          <a:xfrm>
            <a:off x="7212674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49"/>
          <p:cNvSpPr>
            <a:spLocks noGrp="1"/>
          </p:cNvSpPr>
          <p:nvPr>
            <p:ph type="body" sz="quarter" idx="24"/>
          </p:nvPr>
        </p:nvSpPr>
        <p:spPr>
          <a:xfrm>
            <a:off x="545503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68069968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rc 5"/>
          <p:cNvSpPr/>
          <p:nvPr userDrawn="1"/>
        </p:nvSpPr>
        <p:spPr>
          <a:xfrm>
            <a:off x="-4040188" y="-1939925"/>
            <a:ext cx="4868863" cy="10980738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555654"/>
              </a:solidFill>
            </a:endParaRPr>
          </a:p>
        </p:txBody>
      </p:sp>
      <p:sp>
        <p:nvSpPr>
          <p:cNvPr id="7" name="Rectangle 6"/>
          <p:cNvSpPr/>
          <p:nvPr userDrawn="1"/>
        </p:nvSpPr>
        <p:spPr>
          <a:xfrm>
            <a:off x="942975" y="979488"/>
            <a:ext cx="1471613" cy="5873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fr-FR">
              <a:solidFill>
                <a:srgbClr val="FFFFFF"/>
              </a:solidFill>
            </a:endParaRP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6" name="Espace réservé du graphique 15"/>
          <p:cNvSpPr>
            <a:spLocks noGrp="1"/>
          </p:cNvSpPr>
          <p:nvPr>
            <p:ph type="chart" sz="quarter" idx="11"/>
          </p:nvPr>
        </p:nvSpPr>
        <p:spPr>
          <a:xfrm>
            <a:off x="1993674" y="1591931"/>
            <a:ext cx="7948613" cy="4512273"/>
          </a:xfrm>
          <a:prstGeom prst="rect">
            <a:avLst/>
          </a:prstGeom>
        </p:spPr>
        <p:txBody>
          <a:bodyPr/>
          <a:lstStyle/>
          <a:p>
            <a:pPr lvl="0"/>
            <a:endParaRPr lang="fr-FR" noProof="0" dirty="0"/>
          </a:p>
        </p:txBody>
      </p:sp>
      <p:sp>
        <p:nvSpPr>
          <p:cNvPr id="8" name="Espace réservé du texte 49"/>
          <p:cNvSpPr>
            <a:spLocks noGrp="1"/>
          </p:cNvSpPr>
          <p:nvPr>
            <p:ph type="body" sz="quarter" idx="23"/>
          </p:nvPr>
        </p:nvSpPr>
        <p:spPr>
          <a:xfrm>
            <a:off x="7212674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2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9" name="Espace réservé du texte 49"/>
          <p:cNvSpPr>
            <a:spLocks noGrp="1"/>
          </p:cNvSpPr>
          <p:nvPr>
            <p:ph type="body" sz="quarter" idx="24"/>
          </p:nvPr>
        </p:nvSpPr>
        <p:spPr>
          <a:xfrm>
            <a:off x="545503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>
                <a:solidFill>
                  <a:srgbClr val="565555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4927918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/>
              <a:t>Présanse</a:t>
            </a:r>
            <a:r>
              <a:rPr lang="fr-FR" dirty="0" smtClean="0"/>
              <a:t> </a:t>
            </a:r>
            <a:r>
              <a:rPr lang="mr-IN" dirty="0" smtClean="0"/>
              <a:t>–</a:t>
            </a:r>
            <a:r>
              <a:rPr lang="fr-FR" dirty="0" smtClean="0"/>
              <a:t> Masque Powerpoint / JJ.MM.AAAA</a:t>
            </a:r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6" name="Arc 15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7" name="Rectangle 16"/>
          <p:cNvSpPr/>
          <p:nvPr userDrawn="1"/>
        </p:nvSpPr>
        <p:spPr>
          <a:xfrm>
            <a:off x="942359" y="979156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ge tableau</a:t>
            </a:r>
            <a:endParaRPr lang="fr-FR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sz="quarter" idx="11"/>
          </p:nvPr>
        </p:nvSpPr>
        <p:spPr>
          <a:xfrm>
            <a:off x="1589088" y="2255534"/>
            <a:ext cx="9158287" cy="3823306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942975" y="1274763"/>
            <a:ext cx="9804400" cy="703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>
              <a:buClr>
                <a:srgbClr val="029EE3"/>
              </a:buClr>
            </a:pP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  <a:endParaRPr lang="fr-FR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22573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 bwMode="auto">
          <a:xfrm>
            <a:off x="-3524" y="0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>
              <a:solidFill>
                <a:srgbClr val="555654"/>
              </a:solidFill>
            </a:endParaRPr>
          </a:p>
        </p:txBody>
      </p:sp>
      <p:pic>
        <p:nvPicPr>
          <p:cNvPr id="6" name="Image 4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104775" y="-14288"/>
            <a:ext cx="12372975" cy="43148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8525" y="1765300"/>
            <a:ext cx="5046663" cy="165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2"/>
          </p:nvPr>
        </p:nvSpPr>
        <p:spPr>
          <a:xfrm>
            <a:off x="4665482" y="4989439"/>
            <a:ext cx="2857500" cy="3921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10" name="Espace réservé du texte 49"/>
          <p:cNvSpPr>
            <a:spLocks noGrp="1"/>
          </p:cNvSpPr>
          <p:nvPr>
            <p:ph type="body" sz="quarter" idx="23"/>
          </p:nvPr>
        </p:nvSpPr>
        <p:spPr>
          <a:xfrm>
            <a:off x="7854846" y="6667244"/>
            <a:ext cx="4088431" cy="190756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277816667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rc 4"/>
          <p:cNvSpPr/>
          <p:nvPr userDrawn="1"/>
        </p:nvSpPr>
        <p:spPr>
          <a:xfrm>
            <a:off x="-4040188" y="-1939925"/>
            <a:ext cx="4868863" cy="10980738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555654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/>
          </p:nvPr>
        </p:nvSpPr>
        <p:spPr>
          <a:xfrm>
            <a:off x="1678897" y="1516063"/>
            <a:ext cx="9686015" cy="463654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7" name="Espace réservé du pied de page 4"/>
          <p:cNvSpPr>
            <a:spLocks noGrp="1"/>
          </p:cNvSpPr>
          <p:nvPr>
            <p:ph type="ftr" sz="quarter" idx="12"/>
          </p:nvPr>
        </p:nvSpPr>
        <p:spPr>
          <a:xfrm>
            <a:off x="7885113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dirty="0" err="1" smtClean="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13"/>
          </p:nvPr>
        </p:nvSpPr>
        <p:spPr>
          <a:xfrm>
            <a:off x="4589463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smtClean="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0B05D6F5-DAE8-48BF-A729-7781D0E347A9}" type="slidenum">
              <a:rPr lang="fr-FR">
                <a:solidFill>
                  <a:srgbClr val="555654">
                    <a:tint val="75000"/>
                  </a:srgbClr>
                </a:solidFill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767203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couvertur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smtClean="0">
                <a:solidFill>
                  <a:srgbClr val="555654">
                    <a:tint val="75000"/>
                  </a:srgbClr>
                </a:solidFill>
              </a:rPr>
              <a:t>Présanse </a:t>
            </a:r>
            <a:r>
              <a:rPr lang="mr-IN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-3524" y="18079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 smtClean="0">
              <a:solidFill>
                <a:srgbClr val="555654"/>
              </a:solidFill>
            </a:endParaRPr>
          </a:p>
        </p:txBody>
      </p:sp>
      <p:pic>
        <p:nvPicPr>
          <p:cNvPr id="6" name="Image 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111495" y="-11902"/>
            <a:ext cx="12411457" cy="2271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379" y="549681"/>
            <a:ext cx="3249678" cy="1065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Espace réservé du texte 18"/>
          <p:cNvSpPr>
            <a:spLocks noGrp="1"/>
          </p:cNvSpPr>
          <p:nvPr>
            <p:ph type="body" sz="quarter" idx="13" hasCustomPrompt="1"/>
          </p:nvPr>
        </p:nvSpPr>
        <p:spPr>
          <a:xfrm>
            <a:off x="2841446" y="4370091"/>
            <a:ext cx="6505575" cy="425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Sous-titre de la présentation</a:t>
            </a:r>
            <a:endParaRPr lang="fr-FR" dirty="0">
              <a:solidFill>
                <a:schemeClr val="bg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3022600" y="3376613"/>
            <a:ext cx="6146800" cy="8302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>
                <a:ln>
                  <a:noFill/>
                </a:ln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RÉSENTATION</a:t>
            </a:r>
            <a:endParaRPr lang="fr-FR" dirty="0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 hasCustomPrompt="1"/>
          </p:nvPr>
        </p:nvSpPr>
        <p:spPr>
          <a:xfrm>
            <a:off x="2495239" y="6087532"/>
            <a:ext cx="6933005" cy="8096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Responsable : Prénom Nom, Fonction / JJ.MM.AAAA</a:t>
            </a:r>
          </a:p>
          <a:p>
            <a:r>
              <a:rPr lang="fr-FR" dirty="0" err="1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www.presanse.fr</a:t>
            </a:r>
            <a:endParaRPr lang="fr-FR" dirty="0">
              <a:solidFill>
                <a:schemeClr val="bg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77464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r 8"/>
          <p:cNvGrpSpPr/>
          <p:nvPr userDrawn="1"/>
        </p:nvGrpSpPr>
        <p:grpSpPr>
          <a:xfrm>
            <a:off x="1636251" y="1450415"/>
            <a:ext cx="570016" cy="584775"/>
            <a:chOff x="2812746" y="1902748"/>
            <a:chExt cx="570016" cy="584775"/>
          </a:xfrm>
        </p:grpSpPr>
        <p:sp>
          <p:nvSpPr>
            <p:cNvPr id="10" name="Ellipse 9"/>
            <p:cNvSpPr/>
            <p:nvPr/>
          </p:nvSpPr>
          <p:spPr>
            <a:xfrm>
              <a:off x="2812746" y="1911927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2940586" y="1902748"/>
              <a:ext cx="3433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1</a:t>
              </a:r>
              <a:endParaRPr lang="fr-FR" sz="3200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12" name="Grouper 11"/>
          <p:cNvGrpSpPr/>
          <p:nvPr userDrawn="1"/>
        </p:nvGrpSpPr>
        <p:grpSpPr>
          <a:xfrm>
            <a:off x="1640345" y="3221455"/>
            <a:ext cx="570016" cy="593709"/>
            <a:chOff x="3669089" y="1888234"/>
            <a:chExt cx="570016" cy="593709"/>
          </a:xfrm>
        </p:grpSpPr>
        <p:sp>
          <p:nvSpPr>
            <p:cNvPr id="13" name="Ellipse 12"/>
            <p:cNvSpPr/>
            <p:nvPr/>
          </p:nvSpPr>
          <p:spPr>
            <a:xfrm>
              <a:off x="3669089" y="1911927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3755251" y="1888234"/>
              <a:ext cx="42672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2</a:t>
              </a:r>
              <a:endParaRPr lang="fr-FR" sz="3200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15" name="Grouper 14"/>
          <p:cNvGrpSpPr/>
          <p:nvPr userDrawn="1"/>
        </p:nvGrpSpPr>
        <p:grpSpPr>
          <a:xfrm>
            <a:off x="1636251" y="4779644"/>
            <a:ext cx="570016" cy="593709"/>
            <a:chOff x="4525432" y="1902748"/>
            <a:chExt cx="570016" cy="593709"/>
          </a:xfrm>
        </p:grpSpPr>
        <p:sp>
          <p:nvSpPr>
            <p:cNvPr id="16" name="Ellipse 15"/>
            <p:cNvSpPr/>
            <p:nvPr/>
          </p:nvSpPr>
          <p:spPr>
            <a:xfrm>
              <a:off x="4525432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4611594" y="1902748"/>
              <a:ext cx="40588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3</a:t>
              </a:r>
            </a:p>
          </p:txBody>
        </p:sp>
      </p:grpSp>
      <p:grpSp>
        <p:nvGrpSpPr>
          <p:cNvPr id="18" name="Grouper 17"/>
          <p:cNvGrpSpPr/>
          <p:nvPr userDrawn="1"/>
        </p:nvGrpSpPr>
        <p:grpSpPr>
          <a:xfrm>
            <a:off x="6696110" y="1450415"/>
            <a:ext cx="570016" cy="593709"/>
            <a:chOff x="5323718" y="1902748"/>
            <a:chExt cx="570016" cy="593709"/>
          </a:xfrm>
        </p:grpSpPr>
        <p:sp>
          <p:nvSpPr>
            <p:cNvPr id="19" name="Ellipse 18"/>
            <p:cNvSpPr/>
            <p:nvPr/>
          </p:nvSpPr>
          <p:spPr>
            <a:xfrm>
              <a:off x="5323718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0" name="ZoneTexte 19"/>
            <p:cNvSpPr txBox="1"/>
            <p:nvPr/>
          </p:nvSpPr>
          <p:spPr>
            <a:xfrm>
              <a:off x="5395366" y="1902748"/>
              <a:ext cx="42992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4</a:t>
              </a:r>
            </a:p>
          </p:txBody>
        </p:sp>
      </p:grpSp>
      <p:grpSp>
        <p:nvGrpSpPr>
          <p:cNvPr id="21" name="Grouper 20"/>
          <p:cNvGrpSpPr/>
          <p:nvPr userDrawn="1"/>
        </p:nvGrpSpPr>
        <p:grpSpPr>
          <a:xfrm>
            <a:off x="6696110" y="3212521"/>
            <a:ext cx="570016" cy="593709"/>
            <a:chOff x="6238118" y="1902748"/>
            <a:chExt cx="570016" cy="593709"/>
          </a:xfrm>
        </p:grpSpPr>
        <p:sp>
          <p:nvSpPr>
            <p:cNvPr id="22" name="Ellipse 21"/>
            <p:cNvSpPr/>
            <p:nvPr/>
          </p:nvSpPr>
          <p:spPr>
            <a:xfrm>
              <a:off x="6238118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6324280" y="1902748"/>
              <a:ext cx="42191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5</a:t>
              </a:r>
              <a:endParaRPr lang="fr-FR" sz="3200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24" name="Grouper 23"/>
          <p:cNvGrpSpPr/>
          <p:nvPr userDrawn="1"/>
        </p:nvGrpSpPr>
        <p:grpSpPr>
          <a:xfrm>
            <a:off x="6696110" y="4783463"/>
            <a:ext cx="570016" cy="593709"/>
            <a:chOff x="7268633" y="1902748"/>
            <a:chExt cx="570016" cy="593709"/>
          </a:xfrm>
        </p:grpSpPr>
        <p:sp>
          <p:nvSpPr>
            <p:cNvPr id="25" name="Ellipse 24"/>
            <p:cNvSpPr/>
            <p:nvPr/>
          </p:nvSpPr>
          <p:spPr>
            <a:xfrm>
              <a:off x="7268633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7340281" y="1902748"/>
              <a:ext cx="436338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6</a:t>
              </a:r>
              <a:endParaRPr lang="fr-FR" sz="3200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sp>
        <p:nvSpPr>
          <p:cNvPr id="4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4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7" name="Arc 6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55654"/>
              </a:solidFill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942359" y="979156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sp>
        <p:nvSpPr>
          <p:cNvPr id="47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50" name="Espace réservé du texte 49"/>
          <p:cNvSpPr>
            <a:spLocks noGrp="1"/>
          </p:cNvSpPr>
          <p:nvPr>
            <p:ph type="body" sz="quarter" idx="11" hasCustomPrompt="1"/>
          </p:nvPr>
        </p:nvSpPr>
        <p:spPr>
          <a:xfrm>
            <a:off x="2414899" y="1902910"/>
            <a:ext cx="3653680" cy="119049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2" name="Espace réservé du texte 51"/>
          <p:cNvSpPr>
            <a:spLocks noGrp="1"/>
          </p:cNvSpPr>
          <p:nvPr>
            <p:ph type="body" sz="quarter" idx="12" hasCustomPrompt="1"/>
          </p:nvPr>
        </p:nvSpPr>
        <p:spPr>
          <a:xfrm>
            <a:off x="2414899" y="1460174"/>
            <a:ext cx="2844227" cy="334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3" name="Espace réservé du texte 49"/>
          <p:cNvSpPr>
            <a:spLocks noGrp="1"/>
          </p:cNvSpPr>
          <p:nvPr>
            <p:ph type="body" sz="quarter" idx="13" hasCustomPrompt="1"/>
          </p:nvPr>
        </p:nvSpPr>
        <p:spPr>
          <a:xfrm>
            <a:off x="2414899" y="3641320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4" name="Espace réservé du texte 51"/>
          <p:cNvSpPr>
            <a:spLocks noGrp="1"/>
          </p:cNvSpPr>
          <p:nvPr>
            <p:ph type="body" sz="quarter" idx="14" hasCustomPrompt="1"/>
          </p:nvPr>
        </p:nvSpPr>
        <p:spPr>
          <a:xfrm>
            <a:off x="2414899" y="3243554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5" name="Espace réservé du texte 49"/>
          <p:cNvSpPr>
            <a:spLocks noGrp="1"/>
          </p:cNvSpPr>
          <p:nvPr>
            <p:ph type="body" sz="quarter" idx="15" hasCustomPrompt="1"/>
          </p:nvPr>
        </p:nvSpPr>
        <p:spPr>
          <a:xfrm>
            <a:off x="2414899" y="5193648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6" name="Espace réservé du texte 51"/>
          <p:cNvSpPr>
            <a:spLocks noGrp="1"/>
          </p:cNvSpPr>
          <p:nvPr>
            <p:ph type="body" sz="quarter" idx="16" hasCustomPrompt="1"/>
          </p:nvPr>
        </p:nvSpPr>
        <p:spPr>
          <a:xfrm>
            <a:off x="2414899" y="4803337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7" name="Espace réservé du texte 49"/>
          <p:cNvSpPr>
            <a:spLocks noGrp="1"/>
          </p:cNvSpPr>
          <p:nvPr>
            <p:ph type="body" sz="quarter" idx="17" hasCustomPrompt="1"/>
          </p:nvPr>
        </p:nvSpPr>
        <p:spPr>
          <a:xfrm>
            <a:off x="7505563" y="1922857"/>
            <a:ext cx="3653680" cy="119049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8" name="Espace réservé du texte 51"/>
          <p:cNvSpPr>
            <a:spLocks noGrp="1"/>
          </p:cNvSpPr>
          <p:nvPr>
            <p:ph type="body" sz="quarter" idx="18" hasCustomPrompt="1"/>
          </p:nvPr>
        </p:nvSpPr>
        <p:spPr>
          <a:xfrm>
            <a:off x="7505563" y="1480121"/>
            <a:ext cx="2844227" cy="334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9" name="Espace réservé du texte 49"/>
          <p:cNvSpPr>
            <a:spLocks noGrp="1"/>
          </p:cNvSpPr>
          <p:nvPr>
            <p:ph type="body" sz="quarter" idx="19" hasCustomPrompt="1"/>
          </p:nvPr>
        </p:nvSpPr>
        <p:spPr>
          <a:xfrm>
            <a:off x="7505563" y="3661267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60" name="Espace réservé du texte 51"/>
          <p:cNvSpPr>
            <a:spLocks noGrp="1"/>
          </p:cNvSpPr>
          <p:nvPr>
            <p:ph type="body" sz="quarter" idx="20" hasCustomPrompt="1"/>
          </p:nvPr>
        </p:nvSpPr>
        <p:spPr>
          <a:xfrm>
            <a:off x="7505563" y="3263501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61" name="Espace réservé du texte 49"/>
          <p:cNvSpPr>
            <a:spLocks noGrp="1"/>
          </p:cNvSpPr>
          <p:nvPr>
            <p:ph type="body" sz="quarter" idx="21" hasCustomPrompt="1"/>
          </p:nvPr>
        </p:nvSpPr>
        <p:spPr>
          <a:xfrm>
            <a:off x="7505563" y="5213595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62" name="Espace réservé du texte 51"/>
          <p:cNvSpPr>
            <a:spLocks noGrp="1"/>
          </p:cNvSpPr>
          <p:nvPr>
            <p:ph type="body" sz="quarter" idx="22" hasCustomPrompt="1"/>
          </p:nvPr>
        </p:nvSpPr>
        <p:spPr>
          <a:xfrm>
            <a:off x="7505563" y="4823284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654038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0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 smtClean="0">
              <a:solidFill>
                <a:srgbClr val="555654"/>
              </a:solidFill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 hasCustomPrompt="1"/>
          </p:nvPr>
        </p:nvSpPr>
        <p:spPr>
          <a:xfrm>
            <a:off x="2339101" y="2799683"/>
            <a:ext cx="7510271" cy="5254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TITRE DE LA PARTIE</a:t>
            </a:r>
            <a:endParaRPr lang="fr-FR" dirty="0">
              <a:solidFill>
                <a:schemeClr val="bg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3590131" y="3511550"/>
            <a:ext cx="5011738" cy="6334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Sous-titre de la partie</a:t>
            </a:r>
            <a:endParaRPr lang="fr-FR" dirty="0">
              <a:solidFill>
                <a:schemeClr val="bg1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42874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0" name="Arc 9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55654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ge conten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1678897" y="1516063"/>
            <a:ext cx="9686015" cy="463654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marL="742950" lvl="1" indent="-285750">
              <a:spcBef>
                <a:spcPts val="1000"/>
              </a:spcBef>
              <a:buClr>
                <a:srgbClr val="029EE3"/>
              </a:buClr>
              <a:buFont typeface="Wingdings" charset="2"/>
              <a:buChar char="§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sz="1600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marL="800100" lvl="1" indent="-342900">
              <a:spcBef>
                <a:spcPts val="1000"/>
              </a:spcBef>
              <a:buClr>
                <a:srgbClr val="029EE3"/>
              </a:buClr>
              <a:buFont typeface="+mj-lt"/>
              <a:buAutoNum type="arabicPeriod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800100" lvl="1" indent="-342900">
              <a:buClr>
                <a:srgbClr val="029EE3"/>
              </a:buClr>
              <a:buFont typeface="+mj-lt"/>
              <a:buAutoNum type="arabicPeriod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800100" lvl="1" indent="-342900">
              <a:buClr>
                <a:srgbClr val="029EE3"/>
              </a:buClr>
              <a:buFont typeface="+mj-lt"/>
              <a:buAutoNum type="arabicPeriod"/>
            </a:pPr>
            <a:endParaRPr lang="fr-FR" sz="1600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lvl="1">
              <a:spcBef>
                <a:spcPts val="1000"/>
              </a:spcBef>
              <a:buClr>
                <a:srgbClr val="029EE3"/>
              </a:buClr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sz="1600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endParaRPr lang="fr-FR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7763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6" name="Arc 15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55654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942359" y="979156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ge tableau</a:t>
            </a:r>
            <a:endParaRPr lang="fr-FR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sz="quarter" idx="11"/>
          </p:nvPr>
        </p:nvSpPr>
        <p:spPr>
          <a:xfrm>
            <a:off x="1589088" y="2255534"/>
            <a:ext cx="9158287" cy="3823306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942975" y="1274763"/>
            <a:ext cx="9804400" cy="703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>
              <a:buClr>
                <a:srgbClr val="029EE3"/>
              </a:buClr>
            </a:pP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  <a:endParaRPr lang="fr-FR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1251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3" name="Arc 12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55654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942359" y="979156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ge graphique</a:t>
            </a:r>
            <a:endParaRPr lang="fr-FR" dirty="0"/>
          </a:p>
        </p:txBody>
      </p:sp>
      <p:sp>
        <p:nvSpPr>
          <p:cNvPr id="16" name="Espace réservé du graphique 15"/>
          <p:cNvSpPr>
            <a:spLocks noGrp="1"/>
          </p:cNvSpPr>
          <p:nvPr>
            <p:ph type="chart" sz="quarter" idx="11"/>
          </p:nvPr>
        </p:nvSpPr>
        <p:spPr>
          <a:xfrm>
            <a:off x="1993674" y="1591931"/>
            <a:ext cx="7948613" cy="4512273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780639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-3524" y="0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 smtClean="0">
              <a:solidFill>
                <a:srgbClr val="555654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smtClean="0">
                <a:solidFill>
                  <a:srgbClr val="555654">
                    <a:tint val="75000"/>
                  </a:srgbClr>
                </a:solidFill>
              </a:rPr>
              <a:t>Présanse </a:t>
            </a:r>
            <a:r>
              <a:rPr lang="mr-IN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pic>
        <p:nvPicPr>
          <p:cNvPr id="8" name="Image 7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104932" y="0"/>
            <a:ext cx="12373607" cy="4315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852" y="1765462"/>
            <a:ext cx="5047780" cy="1654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4665482" y="4989439"/>
            <a:ext cx="2857500" cy="3921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Vous remerci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684608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couverture -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smtClean="0">
                <a:solidFill>
                  <a:srgbClr val="555654">
                    <a:tint val="75000"/>
                  </a:srgbClr>
                </a:solidFill>
              </a:rPr>
              <a:t>Présanse </a:t>
            </a:r>
            <a:r>
              <a:rPr lang="mr-IN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 bwMode="auto">
          <a:xfrm>
            <a:off x="-3524" y="18079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 smtClean="0">
              <a:solidFill>
                <a:srgbClr val="555654"/>
              </a:solidFill>
            </a:endParaRPr>
          </a:p>
        </p:txBody>
      </p:sp>
      <p:pic>
        <p:nvPicPr>
          <p:cNvPr id="6" name="Image 5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111495" y="-11902"/>
            <a:ext cx="12411457" cy="2271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1379" y="549681"/>
            <a:ext cx="3249678" cy="10651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Espace réservé du texte 18"/>
          <p:cNvSpPr>
            <a:spLocks noGrp="1"/>
          </p:cNvSpPr>
          <p:nvPr>
            <p:ph type="body" sz="quarter" idx="13" hasCustomPrompt="1"/>
          </p:nvPr>
        </p:nvSpPr>
        <p:spPr>
          <a:xfrm>
            <a:off x="2841446" y="4370091"/>
            <a:ext cx="6505575" cy="425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ln>
                  <a:noFill/>
                </a:ln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Sous-titre de la présentation</a:t>
            </a:r>
            <a:endParaRPr lang="fr-FR" dirty="0">
              <a:solidFill>
                <a:schemeClr val="bg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21" name="Espace réservé du texte 20"/>
          <p:cNvSpPr>
            <a:spLocks noGrp="1"/>
          </p:cNvSpPr>
          <p:nvPr>
            <p:ph type="body" sz="quarter" idx="14" hasCustomPrompt="1"/>
          </p:nvPr>
        </p:nvSpPr>
        <p:spPr>
          <a:xfrm>
            <a:off x="3022600" y="3376613"/>
            <a:ext cx="6146800" cy="8302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200" b="1">
                <a:ln>
                  <a:noFill/>
                </a:ln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RÉSENTATION</a:t>
            </a:r>
            <a:endParaRPr lang="fr-FR" dirty="0"/>
          </a:p>
        </p:txBody>
      </p:sp>
      <p:sp>
        <p:nvSpPr>
          <p:cNvPr id="23" name="Espace réservé du texte 22"/>
          <p:cNvSpPr>
            <a:spLocks noGrp="1"/>
          </p:cNvSpPr>
          <p:nvPr>
            <p:ph type="body" sz="quarter" idx="15" hasCustomPrompt="1"/>
          </p:nvPr>
        </p:nvSpPr>
        <p:spPr>
          <a:xfrm>
            <a:off x="2495239" y="6087532"/>
            <a:ext cx="6933005" cy="809625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Responsable : Prénom Nom, Fonction / JJ.MM.AAAA</a:t>
            </a:r>
          </a:p>
          <a:p>
            <a:r>
              <a:rPr lang="fr-FR" dirty="0" err="1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www.presanse.fr</a:t>
            </a:r>
            <a:endParaRPr lang="fr-FR" dirty="0">
              <a:solidFill>
                <a:schemeClr val="bg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1526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/>
              <a:t>Présanse</a:t>
            </a:r>
            <a:r>
              <a:rPr lang="fr-FR" dirty="0" smtClean="0"/>
              <a:t> </a:t>
            </a:r>
            <a:r>
              <a:rPr lang="mr-IN" dirty="0" smtClean="0"/>
              <a:t>–</a:t>
            </a:r>
            <a:r>
              <a:rPr lang="fr-FR" dirty="0" smtClean="0"/>
              <a:t> Masque Powerpoint / JJ.MM.AAAA</a:t>
            </a:r>
            <a:endParaRPr lang="fr-FR" dirty="0"/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13" name="Arc 12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4" name="Rectangle 13"/>
          <p:cNvSpPr/>
          <p:nvPr userDrawn="1"/>
        </p:nvSpPr>
        <p:spPr>
          <a:xfrm>
            <a:off x="942359" y="979156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ge graphique</a:t>
            </a:r>
            <a:endParaRPr lang="fr-FR" dirty="0"/>
          </a:p>
        </p:txBody>
      </p:sp>
      <p:sp>
        <p:nvSpPr>
          <p:cNvPr id="16" name="Espace réservé du graphique 15"/>
          <p:cNvSpPr>
            <a:spLocks noGrp="1"/>
          </p:cNvSpPr>
          <p:nvPr>
            <p:ph type="chart" sz="quarter" idx="11"/>
          </p:nvPr>
        </p:nvSpPr>
        <p:spPr>
          <a:xfrm>
            <a:off x="1993674" y="1591931"/>
            <a:ext cx="7948613" cy="4512273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098533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mmai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er 8"/>
          <p:cNvGrpSpPr/>
          <p:nvPr userDrawn="1"/>
        </p:nvGrpSpPr>
        <p:grpSpPr>
          <a:xfrm>
            <a:off x="1636251" y="1450415"/>
            <a:ext cx="570016" cy="584775"/>
            <a:chOff x="2812746" y="1902748"/>
            <a:chExt cx="570016" cy="584775"/>
          </a:xfrm>
        </p:grpSpPr>
        <p:sp>
          <p:nvSpPr>
            <p:cNvPr id="10" name="Ellipse 9"/>
            <p:cNvSpPr/>
            <p:nvPr/>
          </p:nvSpPr>
          <p:spPr>
            <a:xfrm>
              <a:off x="2812746" y="1911927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1" name="ZoneTexte 10"/>
            <p:cNvSpPr txBox="1"/>
            <p:nvPr/>
          </p:nvSpPr>
          <p:spPr>
            <a:xfrm>
              <a:off x="2940586" y="1902748"/>
              <a:ext cx="3433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1</a:t>
              </a:r>
              <a:endParaRPr lang="fr-FR" sz="3200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12" name="Grouper 11"/>
          <p:cNvGrpSpPr/>
          <p:nvPr userDrawn="1"/>
        </p:nvGrpSpPr>
        <p:grpSpPr>
          <a:xfrm>
            <a:off x="1640345" y="3221455"/>
            <a:ext cx="570016" cy="593709"/>
            <a:chOff x="3669089" y="1888234"/>
            <a:chExt cx="570016" cy="593709"/>
          </a:xfrm>
        </p:grpSpPr>
        <p:sp>
          <p:nvSpPr>
            <p:cNvPr id="13" name="Ellipse 12"/>
            <p:cNvSpPr/>
            <p:nvPr/>
          </p:nvSpPr>
          <p:spPr>
            <a:xfrm>
              <a:off x="3669089" y="1911927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4" name="ZoneTexte 13"/>
            <p:cNvSpPr txBox="1"/>
            <p:nvPr/>
          </p:nvSpPr>
          <p:spPr>
            <a:xfrm>
              <a:off x="3755251" y="1888234"/>
              <a:ext cx="42672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2</a:t>
              </a:r>
              <a:endParaRPr lang="fr-FR" sz="3200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15" name="Grouper 14"/>
          <p:cNvGrpSpPr/>
          <p:nvPr userDrawn="1"/>
        </p:nvGrpSpPr>
        <p:grpSpPr>
          <a:xfrm>
            <a:off x="1636251" y="4779644"/>
            <a:ext cx="570016" cy="593709"/>
            <a:chOff x="4525432" y="1902748"/>
            <a:chExt cx="570016" cy="593709"/>
          </a:xfrm>
        </p:grpSpPr>
        <p:sp>
          <p:nvSpPr>
            <p:cNvPr id="16" name="Ellipse 15"/>
            <p:cNvSpPr/>
            <p:nvPr/>
          </p:nvSpPr>
          <p:spPr>
            <a:xfrm>
              <a:off x="4525432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17" name="ZoneTexte 16"/>
            <p:cNvSpPr txBox="1"/>
            <p:nvPr/>
          </p:nvSpPr>
          <p:spPr>
            <a:xfrm>
              <a:off x="4611594" y="1902748"/>
              <a:ext cx="40588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3</a:t>
              </a:r>
            </a:p>
          </p:txBody>
        </p:sp>
      </p:grpSp>
      <p:grpSp>
        <p:nvGrpSpPr>
          <p:cNvPr id="18" name="Grouper 17"/>
          <p:cNvGrpSpPr/>
          <p:nvPr userDrawn="1"/>
        </p:nvGrpSpPr>
        <p:grpSpPr>
          <a:xfrm>
            <a:off x="6696110" y="1450415"/>
            <a:ext cx="570016" cy="593709"/>
            <a:chOff x="5323718" y="1902748"/>
            <a:chExt cx="570016" cy="593709"/>
          </a:xfrm>
        </p:grpSpPr>
        <p:sp>
          <p:nvSpPr>
            <p:cNvPr id="19" name="Ellipse 18"/>
            <p:cNvSpPr/>
            <p:nvPr/>
          </p:nvSpPr>
          <p:spPr>
            <a:xfrm>
              <a:off x="5323718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0" name="ZoneTexte 19"/>
            <p:cNvSpPr txBox="1"/>
            <p:nvPr/>
          </p:nvSpPr>
          <p:spPr>
            <a:xfrm>
              <a:off x="5395366" y="1902748"/>
              <a:ext cx="429926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4</a:t>
              </a:r>
            </a:p>
          </p:txBody>
        </p:sp>
      </p:grpSp>
      <p:grpSp>
        <p:nvGrpSpPr>
          <p:cNvPr id="21" name="Grouper 20"/>
          <p:cNvGrpSpPr/>
          <p:nvPr userDrawn="1"/>
        </p:nvGrpSpPr>
        <p:grpSpPr>
          <a:xfrm>
            <a:off x="6696110" y="3212521"/>
            <a:ext cx="570016" cy="593709"/>
            <a:chOff x="6238118" y="1902748"/>
            <a:chExt cx="570016" cy="593709"/>
          </a:xfrm>
        </p:grpSpPr>
        <p:sp>
          <p:nvSpPr>
            <p:cNvPr id="22" name="Ellipse 21"/>
            <p:cNvSpPr/>
            <p:nvPr/>
          </p:nvSpPr>
          <p:spPr>
            <a:xfrm>
              <a:off x="6238118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3" name="ZoneTexte 22"/>
            <p:cNvSpPr txBox="1"/>
            <p:nvPr/>
          </p:nvSpPr>
          <p:spPr>
            <a:xfrm>
              <a:off x="6324280" y="1902748"/>
              <a:ext cx="421910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5</a:t>
              </a:r>
              <a:endParaRPr lang="fr-FR" sz="3200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grpSp>
        <p:nvGrpSpPr>
          <p:cNvPr id="24" name="Grouper 23"/>
          <p:cNvGrpSpPr/>
          <p:nvPr userDrawn="1"/>
        </p:nvGrpSpPr>
        <p:grpSpPr>
          <a:xfrm>
            <a:off x="6696110" y="4783463"/>
            <a:ext cx="570016" cy="593709"/>
            <a:chOff x="7268633" y="1902748"/>
            <a:chExt cx="570016" cy="593709"/>
          </a:xfrm>
        </p:grpSpPr>
        <p:sp>
          <p:nvSpPr>
            <p:cNvPr id="25" name="Ellipse 24"/>
            <p:cNvSpPr/>
            <p:nvPr/>
          </p:nvSpPr>
          <p:spPr>
            <a:xfrm>
              <a:off x="7268633" y="1926441"/>
              <a:ext cx="570016" cy="570016"/>
            </a:xfrm>
            <a:prstGeom prst="ellipse">
              <a:avLst/>
            </a:prstGeom>
            <a:solidFill>
              <a:srgbClr val="029E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>
                <a:solidFill>
                  <a:srgbClr val="FFFFFF"/>
                </a:solidFill>
              </a:endParaRPr>
            </a:p>
          </p:txBody>
        </p:sp>
        <p:sp>
          <p:nvSpPr>
            <p:cNvPr id="26" name="ZoneTexte 25"/>
            <p:cNvSpPr txBox="1"/>
            <p:nvPr/>
          </p:nvSpPr>
          <p:spPr>
            <a:xfrm>
              <a:off x="7340281" y="1902748"/>
              <a:ext cx="436338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fr-FR" sz="3200" dirty="0" smtClean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6</a:t>
              </a:r>
              <a:endParaRPr lang="fr-FR" sz="3200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</p:grpSp>
      <p:sp>
        <p:nvSpPr>
          <p:cNvPr id="4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4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7" name="Arc 6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55654"/>
              </a:solidFill>
            </a:endParaRPr>
          </a:p>
        </p:txBody>
      </p:sp>
      <p:sp>
        <p:nvSpPr>
          <p:cNvPr id="46" name="Rectangle 45"/>
          <p:cNvSpPr/>
          <p:nvPr userDrawn="1"/>
        </p:nvSpPr>
        <p:spPr>
          <a:xfrm>
            <a:off x="942359" y="979156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sp>
        <p:nvSpPr>
          <p:cNvPr id="47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Sommaire</a:t>
            </a:r>
            <a:endParaRPr lang="fr-FR" dirty="0"/>
          </a:p>
        </p:txBody>
      </p:sp>
      <p:sp>
        <p:nvSpPr>
          <p:cNvPr id="50" name="Espace réservé du texte 49"/>
          <p:cNvSpPr>
            <a:spLocks noGrp="1"/>
          </p:cNvSpPr>
          <p:nvPr>
            <p:ph type="body" sz="quarter" idx="11" hasCustomPrompt="1"/>
          </p:nvPr>
        </p:nvSpPr>
        <p:spPr>
          <a:xfrm>
            <a:off x="2414899" y="1902910"/>
            <a:ext cx="3653680" cy="119049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2" name="Espace réservé du texte 51"/>
          <p:cNvSpPr>
            <a:spLocks noGrp="1"/>
          </p:cNvSpPr>
          <p:nvPr>
            <p:ph type="body" sz="quarter" idx="12" hasCustomPrompt="1"/>
          </p:nvPr>
        </p:nvSpPr>
        <p:spPr>
          <a:xfrm>
            <a:off x="2414899" y="1460174"/>
            <a:ext cx="2844227" cy="334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3" name="Espace réservé du texte 49"/>
          <p:cNvSpPr>
            <a:spLocks noGrp="1"/>
          </p:cNvSpPr>
          <p:nvPr>
            <p:ph type="body" sz="quarter" idx="13" hasCustomPrompt="1"/>
          </p:nvPr>
        </p:nvSpPr>
        <p:spPr>
          <a:xfrm>
            <a:off x="2414899" y="3641320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4" name="Espace réservé du texte 51"/>
          <p:cNvSpPr>
            <a:spLocks noGrp="1"/>
          </p:cNvSpPr>
          <p:nvPr>
            <p:ph type="body" sz="quarter" idx="14" hasCustomPrompt="1"/>
          </p:nvPr>
        </p:nvSpPr>
        <p:spPr>
          <a:xfrm>
            <a:off x="2414899" y="3243554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5" name="Espace réservé du texte 49"/>
          <p:cNvSpPr>
            <a:spLocks noGrp="1"/>
          </p:cNvSpPr>
          <p:nvPr>
            <p:ph type="body" sz="quarter" idx="15" hasCustomPrompt="1"/>
          </p:nvPr>
        </p:nvSpPr>
        <p:spPr>
          <a:xfrm>
            <a:off x="2414899" y="5193648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6" name="Espace réservé du texte 51"/>
          <p:cNvSpPr>
            <a:spLocks noGrp="1"/>
          </p:cNvSpPr>
          <p:nvPr>
            <p:ph type="body" sz="quarter" idx="16" hasCustomPrompt="1"/>
          </p:nvPr>
        </p:nvSpPr>
        <p:spPr>
          <a:xfrm>
            <a:off x="2414899" y="4803337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7" name="Espace réservé du texte 49"/>
          <p:cNvSpPr>
            <a:spLocks noGrp="1"/>
          </p:cNvSpPr>
          <p:nvPr>
            <p:ph type="body" sz="quarter" idx="17" hasCustomPrompt="1"/>
          </p:nvPr>
        </p:nvSpPr>
        <p:spPr>
          <a:xfrm>
            <a:off x="7505563" y="1922857"/>
            <a:ext cx="3653680" cy="1190498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58" name="Espace réservé du texte 51"/>
          <p:cNvSpPr>
            <a:spLocks noGrp="1"/>
          </p:cNvSpPr>
          <p:nvPr>
            <p:ph type="body" sz="quarter" idx="18" hasCustomPrompt="1"/>
          </p:nvPr>
        </p:nvSpPr>
        <p:spPr>
          <a:xfrm>
            <a:off x="7505563" y="1480121"/>
            <a:ext cx="2844227" cy="33437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59" name="Espace réservé du texte 49"/>
          <p:cNvSpPr>
            <a:spLocks noGrp="1"/>
          </p:cNvSpPr>
          <p:nvPr>
            <p:ph type="body" sz="quarter" idx="19" hasCustomPrompt="1"/>
          </p:nvPr>
        </p:nvSpPr>
        <p:spPr>
          <a:xfrm>
            <a:off x="7505563" y="3661267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60" name="Espace réservé du texte 51"/>
          <p:cNvSpPr>
            <a:spLocks noGrp="1"/>
          </p:cNvSpPr>
          <p:nvPr>
            <p:ph type="body" sz="quarter" idx="20" hasCustomPrompt="1"/>
          </p:nvPr>
        </p:nvSpPr>
        <p:spPr>
          <a:xfrm>
            <a:off x="7505563" y="3263501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  <p:sp>
        <p:nvSpPr>
          <p:cNvPr id="61" name="Espace réservé du texte 49"/>
          <p:cNvSpPr>
            <a:spLocks noGrp="1"/>
          </p:cNvSpPr>
          <p:nvPr>
            <p:ph type="body" sz="quarter" idx="21" hasCustomPrompt="1"/>
          </p:nvPr>
        </p:nvSpPr>
        <p:spPr>
          <a:xfrm>
            <a:off x="7505563" y="5213595"/>
            <a:ext cx="3653680" cy="1008846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565555"/>
                </a:solidFill>
              </a:defRPr>
            </a:lvl1pPr>
          </a:lstStyle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Premièr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Deuxième sous-partie</a:t>
            </a: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200" dirty="0" smtClean="0">
                <a:latin typeface="Helvetica" charset="0"/>
                <a:ea typeface="Helvetica" charset="0"/>
                <a:cs typeface="Helvetica" charset="0"/>
              </a:rPr>
              <a:t>Troisième sous-partie</a:t>
            </a:r>
            <a:endParaRPr lang="fr-FR" sz="1200" dirty="0"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62" name="Espace réservé du texte 51"/>
          <p:cNvSpPr>
            <a:spLocks noGrp="1"/>
          </p:cNvSpPr>
          <p:nvPr>
            <p:ph type="body" sz="quarter" idx="22" hasCustomPrompt="1"/>
          </p:nvPr>
        </p:nvSpPr>
        <p:spPr>
          <a:xfrm>
            <a:off x="7505563" y="4823284"/>
            <a:ext cx="2844227" cy="28335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aseline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rti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54724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de part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 bwMode="auto">
          <a:xfrm>
            <a:off x="0" y="0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 smtClean="0">
              <a:solidFill>
                <a:srgbClr val="555654"/>
              </a:solidFill>
            </a:endParaRPr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0" hasCustomPrompt="1"/>
          </p:nvPr>
        </p:nvSpPr>
        <p:spPr>
          <a:xfrm>
            <a:off x="2339101" y="2799683"/>
            <a:ext cx="7510271" cy="52546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2"/>
                </a:solidFill>
                <a:latin typeface="Montserrat" charset="0"/>
                <a:ea typeface="Montserrat" charset="0"/>
                <a:cs typeface="Montserrat" charset="0"/>
              </a:rPr>
              <a:t>TITRE DE LA PARTIE</a:t>
            </a:r>
            <a:endParaRPr lang="fr-FR" dirty="0">
              <a:solidFill>
                <a:schemeClr val="bg2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1" hasCustomPrompt="1"/>
          </p:nvPr>
        </p:nvSpPr>
        <p:spPr>
          <a:xfrm>
            <a:off x="3590131" y="3511550"/>
            <a:ext cx="5011738" cy="6334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fr-FR" dirty="0" smtClean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rPr>
              <a:t>Sous-titre de la partie</a:t>
            </a:r>
            <a:endParaRPr lang="fr-FR" dirty="0">
              <a:solidFill>
                <a:schemeClr val="bg1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29171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0" name="Arc 9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55654"/>
              </a:solidFill>
            </a:endParaRP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ge conten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1678897" y="1516063"/>
            <a:ext cx="9686015" cy="4636543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</a:lstStyle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marL="742950" lvl="1" indent="-285750">
              <a:spcBef>
                <a:spcPts val="1000"/>
              </a:spcBef>
              <a:buClr>
                <a:srgbClr val="029EE3"/>
              </a:buClr>
              <a:buFont typeface="Wingdings" charset="2"/>
              <a:buChar char="§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sz="1600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marL="800100" lvl="1" indent="-342900">
              <a:spcBef>
                <a:spcPts val="1000"/>
              </a:spcBef>
              <a:buClr>
                <a:srgbClr val="029EE3"/>
              </a:buClr>
              <a:buFont typeface="+mj-lt"/>
              <a:buAutoNum type="arabicPeriod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800100" lvl="1" indent="-342900">
              <a:buClr>
                <a:srgbClr val="029EE3"/>
              </a:buClr>
              <a:buFont typeface="+mj-lt"/>
              <a:buAutoNum type="arabicPeriod"/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800100" lvl="1" indent="-342900">
              <a:buClr>
                <a:srgbClr val="029EE3"/>
              </a:buClr>
              <a:buFont typeface="+mj-lt"/>
              <a:buAutoNum type="arabicPeriod"/>
            </a:pPr>
            <a:endParaRPr lang="fr-FR" sz="1600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 smtClean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lvl="1">
              <a:spcBef>
                <a:spcPts val="1000"/>
              </a:spcBef>
              <a:buClr>
                <a:srgbClr val="029EE3"/>
              </a:buClr>
            </a:pP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sz="1600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dirty="0" smtClean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endParaRPr lang="fr-FR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197499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6" name="Arc 15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55654"/>
              </a:solidFill>
            </a:endParaRPr>
          </a:p>
        </p:txBody>
      </p:sp>
      <p:sp>
        <p:nvSpPr>
          <p:cNvPr id="17" name="Rectangle 16"/>
          <p:cNvSpPr/>
          <p:nvPr userDrawn="1"/>
        </p:nvSpPr>
        <p:spPr>
          <a:xfrm>
            <a:off x="942359" y="979156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ge tableau</a:t>
            </a:r>
            <a:endParaRPr lang="fr-FR" dirty="0"/>
          </a:p>
        </p:txBody>
      </p:sp>
      <p:sp>
        <p:nvSpPr>
          <p:cNvPr id="3" name="Espace réservé du tableau 2"/>
          <p:cNvSpPr>
            <a:spLocks noGrp="1"/>
          </p:cNvSpPr>
          <p:nvPr>
            <p:ph type="tbl" sz="quarter" idx="11"/>
          </p:nvPr>
        </p:nvSpPr>
        <p:spPr>
          <a:xfrm>
            <a:off x="1589088" y="2255534"/>
            <a:ext cx="9158287" cy="3823306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942975" y="1274763"/>
            <a:ext cx="9804400" cy="7032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/>
            </a:lvl1pPr>
          </a:lstStyle>
          <a:p>
            <a:pPr>
              <a:buClr>
                <a:srgbClr val="029EE3"/>
              </a:buClr>
            </a:pP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dirty="0" err="1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dirty="0" smtClean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  <a:endParaRPr lang="fr-FR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4608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graphiq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2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13" name="Arc 12"/>
          <p:cNvSpPr/>
          <p:nvPr userDrawn="1"/>
        </p:nvSpPr>
        <p:spPr>
          <a:xfrm>
            <a:off x="-4039614" y="-193975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555654"/>
              </a:solidFill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942359" y="979156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>
              <a:solidFill>
                <a:srgbClr val="FFFFFF"/>
              </a:solidFill>
            </a:endParaRPr>
          </a:p>
        </p:txBody>
      </p:sp>
      <p:sp>
        <p:nvSpPr>
          <p:cNvPr id="15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5692956" cy="6127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Titre de la page graphique</a:t>
            </a:r>
            <a:endParaRPr lang="fr-FR" dirty="0"/>
          </a:p>
        </p:txBody>
      </p:sp>
      <p:sp>
        <p:nvSpPr>
          <p:cNvPr id="16" name="Espace réservé du graphique 15"/>
          <p:cNvSpPr>
            <a:spLocks noGrp="1"/>
          </p:cNvSpPr>
          <p:nvPr>
            <p:ph type="chart" sz="quarter" idx="11"/>
          </p:nvPr>
        </p:nvSpPr>
        <p:spPr>
          <a:xfrm>
            <a:off x="1993674" y="1591931"/>
            <a:ext cx="7948613" cy="4512273"/>
          </a:xfrm>
          <a:prstGeom prst="rect">
            <a:avLst/>
          </a:prstGeom>
        </p:spPr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344388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-3524" y="0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 smtClean="0">
              <a:solidFill>
                <a:srgbClr val="555654"/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smtClean="0">
                <a:solidFill>
                  <a:srgbClr val="555654">
                    <a:tint val="75000"/>
                  </a:srgbClr>
                </a:solidFill>
              </a:rPr>
              <a:t>Présanse </a:t>
            </a:r>
            <a:r>
              <a:rPr lang="mr-IN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pic>
        <p:nvPicPr>
          <p:cNvPr id="8" name="Image 7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104932" y="0"/>
            <a:ext cx="12373607" cy="4315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852" y="1765462"/>
            <a:ext cx="5047780" cy="1654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4665482" y="4989439"/>
            <a:ext cx="2857500" cy="3921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Vous remerci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03805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ge de f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 bwMode="auto">
          <a:xfrm>
            <a:off x="-3524" y="0"/>
            <a:ext cx="12195524" cy="7113588"/>
          </a:xfrm>
          <a:prstGeom prst="rect">
            <a:avLst/>
          </a:prstGeom>
          <a:gradFill>
            <a:gsLst>
              <a:gs pos="78000">
                <a:srgbClr val="009EE3"/>
              </a:gs>
              <a:gs pos="0">
                <a:srgbClr val="009EE3">
                  <a:tint val="44500"/>
                  <a:satMod val="160000"/>
                </a:srgbClr>
              </a:gs>
            </a:gsLst>
            <a:path path="circle">
              <a:fillToRect l="50000" t="50000" r="50000" b="50000"/>
            </a:path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/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MS PGothic" panose="020B0600070205080204" pitchFamily="34" charset="-128"/>
              </a:defRPr>
            </a:lvl9pPr>
          </a:lstStyle>
          <a:p>
            <a:pPr>
              <a:defRPr/>
            </a:pPr>
            <a:endParaRPr lang="fr-FR" altLang="fr-FR" smtClean="0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fr-FR" smtClean="0"/>
              <a:t>Présanse </a:t>
            </a:r>
            <a:r>
              <a:rPr lang="mr-IN" smtClean="0"/>
              <a:t>–</a:t>
            </a:r>
            <a:r>
              <a:rPr lang="fr-FR" smtClean="0"/>
              <a:t> Masque Powerpoint / JJ.MM.AAAA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43935BB-9C05-C34E-BF02-B47196A5F45A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8" name="Image 7"/>
          <p:cNvPicPr>
            <a:picLocks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0800000">
            <a:off x="-104932" y="0"/>
            <a:ext cx="12373607" cy="43159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Image 1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37852" y="1765462"/>
            <a:ext cx="5047780" cy="16545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Espace réservé du texte 4"/>
          <p:cNvSpPr>
            <a:spLocks noGrp="1"/>
          </p:cNvSpPr>
          <p:nvPr>
            <p:ph type="body" sz="quarter" idx="12" hasCustomPrompt="1"/>
          </p:nvPr>
        </p:nvSpPr>
        <p:spPr>
          <a:xfrm>
            <a:off x="4665482" y="4989439"/>
            <a:ext cx="2857500" cy="39211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 smtClean="0"/>
              <a:t>Vous remerci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33813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Page contenu 1 lig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942627" y="976985"/>
            <a:ext cx="1472540" cy="59377"/>
          </a:xfrm>
          <a:prstGeom prst="rect">
            <a:avLst/>
          </a:prstGeom>
          <a:solidFill>
            <a:srgbClr val="56555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4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5" name="Espace réservé du texte 3"/>
          <p:cNvSpPr>
            <a:spLocks noGrp="1"/>
          </p:cNvSpPr>
          <p:nvPr>
            <p:ph type="body" sz="quarter" idx="10" hasCustomPrompt="1"/>
          </p:nvPr>
        </p:nvSpPr>
        <p:spPr>
          <a:xfrm>
            <a:off x="828446" y="396069"/>
            <a:ext cx="10536466" cy="563301"/>
          </a:xfrm>
          <a:prstGeom prst="rect">
            <a:avLst/>
          </a:prstGeom>
        </p:spPr>
        <p:txBody>
          <a:bodyPr/>
          <a:lstStyle>
            <a:lvl1pPr marL="0" indent="0" defTabSz="55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rgbClr val="019EE3"/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r-FR" dirty="0"/>
              <a:t>Titre de la </a:t>
            </a:r>
            <a:r>
              <a:rPr lang="fr-FR"/>
              <a:t>page contenu</a:t>
            </a:r>
            <a:endParaRPr lang="fr-FR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 hasCustomPrompt="1"/>
          </p:nvPr>
        </p:nvSpPr>
        <p:spPr>
          <a:xfrm>
            <a:off x="1678897" y="1503683"/>
            <a:ext cx="9686015" cy="4450022"/>
          </a:xfrm>
          <a:prstGeom prst="rect">
            <a:avLst/>
          </a:prstGeom>
        </p:spPr>
        <p:txBody>
          <a:bodyPr/>
          <a:lstStyle>
            <a:lvl1pPr marL="228600" indent="-228600">
              <a:buSzPct val="125000"/>
              <a:buFont typeface="Wingdings" charset="2"/>
              <a:buChar char="§"/>
              <a:defRPr sz="2000">
                <a:solidFill>
                  <a:schemeClr val="tx1"/>
                </a:solidFill>
              </a:defRPr>
            </a:lvl1pPr>
            <a:lvl2pPr marL="685800" indent="-228600">
              <a:buFont typeface="Wingdings" charset="2"/>
              <a:buChar char="§"/>
              <a:defRPr>
                <a:solidFill>
                  <a:schemeClr val="tx1"/>
                </a:solidFill>
              </a:defRPr>
            </a:lvl2pPr>
          </a:lstStyle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marL="742950" lvl="1" indent="-285750">
              <a:spcBef>
                <a:spcPts val="1000"/>
              </a:spcBef>
              <a:buClr>
                <a:srgbClr val="029EE3"/>
              </a:buClr>
              <a:buFont typeface="Wingdings" charset="2"/>
              <a:buChar char="§"/>
            </a:pP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sz="1600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marL="800100" lvl="1" indent="-342900">
              <a:spcBef>
                <a:spcPts val="1000"/>
              </a:spcBef>
              <a:buClr>
                <a:srgbClr val="029EE3"/>
              </a:buClr>
              <a:buFont typeface="+mj-lt"/>
              <a:buAutoNum type="arabicPeriod"/>
            </a:pP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800100" lvl="1" indent="-342900">
              <a:buClr>
                <a:srgbClr val="029EE3"/>
              </a:buClr>
              <a:buFont typeface="+mj-lt"/>
              <a:buAutoNum type="arabicPeriod"/>
            </a:pP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800100" lvl="1" indent="-342900">
              <a:buClr>
                <a:srgbClr val="029EE3"/>
              </a:buClr>
              <a:buFont typeface="+mj-lt"/>
              <a:buAutoNum type="arabicPeriod"/>
            </a:pPr>
            <a:endParaRPr lang="fr-FR" sz="1600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342900" indent="-342900">
              <a:buClr>
                <a:srgbClr val="029EE3"/>
              </a:buClr>
              <a:buFont typeface="Wingdings" charset="2"/>
              <a:buChar char="§"/>
            </a:pPr>
            <a:r>
              <a:rPr lang="fr-FR" b="1" dirty="0" err="1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Lorem</a:t>
            </a:r>
            <a:r>
              <a:rPr lang="fr-FR" b="1" dirty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ipsum</a:t>
            </a:r>
            <a:r>
              <a:rPr lang="fr-FR" b="1" dirty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fr-FR" b="1" dirty="0" err="1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cuiusdam</a:t>
            </a:r>
            <a:r>
              <a:rPr lang="fr-FR" b="1" dirty="0">
                <a:solidFill>
                  <a:srgbClr val="565555"/>
                </a:solidFill>
                <a:latin typeface="Montserrat" charset="0"/>
                <a:ea typeface="Montserrat" charset="0"/>
                <a:cs typeface="Montserrat" charset="0"/>
              </a:rPr>
              <a:t> missa</a:t>
            </a:r>
          </a:p>
          <a:p>
            <a:pPr lvl="1">
              <a:spcBef>
                <a:spcPts val="1000"/>
              </a:spcBef>
              <a:buClr>
                <a:srgbClr val="029EE3"/>
              </a:buClr>
            </a:pP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Inter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mediocriu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uiusda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missa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loqu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ut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orienti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lematii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mitem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</a:t>
            </a:r>
            <a:r>
              <a:rPr lang="fr-FR" sz="1600" dirty="0" err="1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contactus</a:t>
            </a:r>
            <a:r>
              <a:rPr lang="fr-FR" sz="1600" dirty="0">
                <a:solidFill>
                  <a:srgbClr val="565555"/>
                </a:solidFill>
                <a:latin typeface="Helvetica" charset="0"/>
                <a:ea typeface="Helvetica" charset="0"/>
                <a:cs typeface="Helvetica" charset="0"/>
              </a:rPr>
              <a:t> non id.</a:t>
            </a: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sz="1600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742950" lvl="1" indent="-285750">
              <a:buClr>
                <a:srgbClr val="029EE3"/>
              </a:buClr>
              <a:buFont typeface="Wingdings" charset="2"/>
              <a:buChar char="§"/>
            </a:pPr>
            <a:endParaRPr lang="fr-FR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  <a:p>
            <a:pPr marL="285750" indent="-285750">
              <a:buClr>
                <a:srgbClr val="029EE3"/>
              </a:buClr>
              <a:buFont typeface="Wingdings" charset="2"/>
              <a:buChar char="§"/>
            </a:pPr>
            <a:endParaRPr lang="fr-FR" dirty="0">
              <a:solidFill>
                <a:srgbClr val="565555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sp>
        <p:nvSpPr>
          <p:cNvPr id="7" name="Espace réservé du texte 49"/>
          <p:cNvSpPr>
            <a:spLocks noGrp="1"/>
          </p:cNvSpPr>
          <p:nvPr>
            <p:ph type="body" sz="quarter" idx="23" hasCustomPrompt="1"/>
          </p:nvPr>
        </p:nvSpPr>
        <p:spPr>
          <a:xfrm>
            <a:off x="7212674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r">
              <a:buFontTx/>
              <a:buNone/>
              <a:defRPr sz="1200">
                <a:solidFill>
                  <a:srgbClr val="565555"/>
                </a:solidFill>
              </a:defRPr>
            </a:lvl1pPr>
          </a:lstStyle>
          <a:p>
            <a:r>
              <a:rPr lang="fr-FR" dirty="0" err="1"/>
              <a:t>Présanse</a:t>
            </a:r>
            <a:r>
              <a:rPr lang="fr-FR" dirty="0"/>
              <a:t> </a:t>
            </a:r>
            <a:r>
              <a:rPr lang="mr-IN" dirty="0"/>
              <a:t>–</a:t>
            </a:r>
            <a:r>
              <a:rPr lang="fr-FR" dirty="0"/>
              <a:t> Masque Powerpoint / JJ.MM.AAAA</a:t>
            </a:r>
          </a:p>
        </p:txBody>
      </p:sp>
      <p:sp>
        <p:nvSpPr>
          <p:cNvPr id="8" name="Espace réservé du texte 49"/>
          <p:cNvSpPr>
            <a:spLocks noGrp="1"/>
          </p:cNvSpPr>
          <p:nvPr>
            <p:ph type="body" sz="quarter" idx="24" hasCustomPrompt="1"/>
          </p:nvPr>
        </p:nvSpPr>
        <p:spPr>
          <a:xfrm>
            <a:off x="545503" y="6498018"/>
            <a:ext cx="3321527" cy="190756"/>
          </a:xfrm>
          <a:prstGeom prst="rect">
            <a:avLst/>
          </a:prstGeom>
        </p:spPr>
        <p:txBody>
          <a:bodyPr/>
          <a:lstStyle>
            <a:lvl1pPr marL="0" indent="0" algn="l">
              <a:buFontTx/>
              <a:buNone/>
              <a:defRPr sz="1400">
                <a:solidFill>
                  <a:srgbClr val="565555"/>
                </a:solidFill>
              </a:defRPr>
            </a:lvl1pPr>
          </a:lstStyle>
          <a:p>
            <a:fld id="{88210714-2BAE-E445-A9E9-7FB28905F8E6}" type="slidenum">
              <a:rPr lang="fr-FR" smtClean="0"/>
              <a:t>‹#›</a:t>
            </a:fld>
            <a:endParaRPr lang="fr-FR" dirty="0"/>
          </a:p>
        </p:txBody>
      </p:sp>
      <p:sp>
        <p:nvSpPr>
          <p:cNvPr id="9" name="Arc 8"/>
          <p:cNvSpPr/>
          <p:nvPr/>
        </p:nvSpPr>
        <p:spPr>
          <a:xfrm>
            <a:off x="-4039614" y="-1924762"/>
            <a:ext cx="4868060" cy="10980894"/>
          </a:xfrm>
          <a:prstGeom prst="arc">
            <a:avLst>
              <a:gd name="adj1" fmla="val 17833965"/>
              <a:gd name="adj2" fmla="val 3585703"/>
            </a:avLst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990065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uvertur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21">
            <a:extLst>
              <a:ext uri="{FF2B5EF4-FFF2-40B4-BE49-F238E27FC236}">
                <a16:creationId xmlns="" xmlns:a16="http://schemas.microsoft.com/office/drawing/2014/main" id="{482BF879-F7D7-FC48-AACF-A5B0959F81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 flipH="1">
            <a:off x="3174682" y="2759069"/>
            <a:ext cx="9021001" cy="2974980"/>
          </a:xfrm>
          <a:custGeom>
            <a:avLst/>
            <a:gdLst>
              <a:gd name="connsiteX0" fmla="*/ 0 w 1836075"/>
              <a:gd name="connsiteY0" fmla="*/ 0 h 1752600"/>
              <a:gd name="connsiteX1" fmla="*/ 918038 w 1836075"/>
              <a:gd name="connsiteY1" fmla="*/ 0 h 1752600"/>
              <a:gd name="connsiteX2" fmla="*/ 1836076 w 1836075"/>
              <a:gd name="connsiteY2" fmla="*/ 876300 h 1752600"/>
              <a:gd name="connsiteX3" fmla="*/ 918038 w 1836075"/>
              <a:gd name="connsiteY3" fmla="*/ 1752600 h 1752600"/>
              <a:gd name="connsiteX4" fmla="*/ 0 w 1836075"/>
              <a:gd name="connsiteY4" fmla="*/ 1752600 h 1752600"/>
              <a:gd name="connsiteX5" fmla="*/ 0 w 1836075"/>
              <a:gd name="connsiteY5" fmla="*/ 0 h 1752600"/>
              <a:gd name="connsiteX0" fmla="*/ 0 w 3115601"/>
              <a:gd name="connsiteY0" fmla="*/ 3175 h 1752600"/>
              <a:gd name="connsiteX1" fmla="*/ 2197563 w 3115601"/>
              <a:gd name="connsiteY1" fmla="*/ 0 h 1752600"/>
              <a:gd name="connsiteX2" fmla="*/ 3115601 w 3115601"/>
              <a:gd name="connsiteY2" fmla="*/ 876300 h 1752600"/>
              <a:gd name="connsiteX3" fmla="*/ 2197563 w 3115601"/>
              <a:gd name="connsiteY3" fmla="*/ 1752600 h 1752600"/>
              <a:gd name="connsiteX4" fmla="*/ 1279525 w 3115601"/>
              <a:gd name="connsiteY4" fmla="*/ 1752600 h 1752600"/>
              <a:gd name="connsiteX5" fmla="*/ 0 w 3115601"/>
              <a:gd name="connsiteY5" fmla="*/ 3175 h 1752600"/>
              <a:gd name="connsiteX0" fmla="*/ 662631 w 3778232"/>
              <a:gd name="connsiteY0" fmla="*/ 3175 h 1767714"/>
              <a:gd name="connsiteX1" fmla="*/ 2860194 w 3778232"/>
              <a:gd name="connsiteY1" fmla="*/ 0 h 1767714"/>
              <a:gd name="connsiteX2" fmla="*/ 3778232 w 3778232"/>
              <a:gd name="connsiteY2" fmla="*/ 876300 h 1767714"/>
              <a:gd name="connsiteX3" fmla="*/ 2860194 w 3778232"/>
              <a:gd name="connsiteY3" fmla="*/ 1752600 h 1767714"/>
              <a:gd name="connsiteX4" fmla="*/ 0 w 3778232"/>
              <a:gd name="connsiteY4" fmla="*/ 1767714 h 1767714"/>
              <a:gd name="connsiteX5" fmla="*/ 662631 w 3778232"/>
              <a:gd name="connsiteY5" fmla="*/ 3175 h 1767714"/>
              <a:gd name="connsiteX0" fmla="*/ 0 w 3784398"/>
              <a:gd name="connsiteY0" fmla="*/ 3175 h 1767714"/>
              <a:gd name="connsiteX1" fmla="*/ 2866360 w 3784398"/>
              <a:gd name="connsiteY1" fmla="*/ 0 h 1767714"/>
              <a:gd name="connsiteX2" fmla="*/ 3784398 w 3784398"/>
              <a:gd name="connsiteY2" fmla="*/ 876300 h 1767714"/>
              <a:gd name="connsiteX3" fmla="*/ 2866360 w 3784398"/>
              <a:gd name="connsiteY3" fmla="*/ 1752600 h 1767714"/>
              <a:gd name="connsiteX4" fmla="*/ 6166 w 3784398"/>
              <a:gd name="connsiteY4" fmla="*/ 1767714 h 1767714"/>
              <a:gd name="connsiteX5" fmla="*/ 0 w 378439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800106 w 4578338"/>
              <a:gd name="connsiteY4" fmla="*/ 1767714 h 1767714"/>
              <a:gd name="connsiteX5" fmla="*/ 0 w 4578338"/>
              <a:gd name="connsiteY5" fmla="*/ 3175 h 1767714"/>
              <a:gd name="connsiteX0" fmla="*/ 0 w 4578338"/>
              <a:gd name="connsiteY0" fmla="*/ 3175 h 1767714"/>
              <a:gd name="connsiteX1" fmla="*/ 3660300 w 4578338"/>
              <a:gd name="connsiteY1" fmla="*/ 0 h 1767714"/>
              <a:gd name="connsiteX2" fmla="*/ 4578338 w 4578338"/>
              <a:gd name="connsiteY2" fmla="*/ 876300 h 1767714"/>
              <a:gd name="connsiteX3" fmla="*/ 3660300 w 4578338"/>
              <a:gd name="connsiteY3" fmla="*/ 1752600 h 1767714"/>
              <a:gd name="connsiteX4" fmla="*/ 6166 w 4578338"/>
              <a:gd name="connsiteY4" fmla="*/ 1767714 h 1767714"/>
              <a:gd name="connsiteX5" fmla="*/ 0 w 4578338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01499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67714"/>
              <a:gd name="connsiteX1" fmla="*/ 4255633 w 5173671"/>
              <a:gd name="connsiteY1" fmla="*/ 0 h 1767714"/>
              <a:gd name="connsiteX2" fmla="*/ 5173671 w 5173671"/>
              <a:gd name="connsiteY2" fmla="*/ 876300 h 1767714"/>
              <a:gd name="connsiteX3" fmla="*/ 4255633 w 5173671"/>
              <a:gd name="connsiteY3" fmla="*/ 1752600 h 1767714"/>
              <a:gd name="connsiteX4" fmla="*/ 6167 w 5173671"/>
              <a:gd name="connsiteY4" fmla="*/ 1767714 h 1767714"/>
              <a:gd name="connsiteX5" fmla="*/ 0 w 5173671"/>
              <a:gd name="connsiteY5" fmla="*/ 3175 h 1767714"/>
              <a:gd name="connsiteX0" fmla="*/ 0 w 5173671"/>
              <a:gd name="connsiteY0" fmla="*/ 3175 h 1754184"/>
              <a:gd name="connsiteX1" fmla="*/ 4255633 w 5173671"/>
              <a:gd name="connsiteY1" fmla="*/ 0 h 1754184"/>
              <a:gd name="connsiteX2" fmla="*/ 5173671 w 5173671"/>
              <a:gd name="connsiteY2" fmla="*/ 876300 h 1754184"/>
              <a:gd name="connsiteX3" fmla="*/ 4255633 w 5173671"/>
              <a:gd name="connsiteY3" fmla="*/ 1752600 h 1754184"/>
              <a:gd name="connsiteX4" fmla="*/ 39993 w 5173671"/>
              <a:gd name="connsiteY4" fmla="*/ 1754184 h 1754184"/>
              <a:gd name="connsiteX5" fmla="*/ 0 w 5173671"/>
              <a:gd name="connsiteY5" fmla="*/ 3175 h 1754184"/>
              <a:gd name="connsiteX0" fmla="*/ 0 w 5157228"/>
              <a:gd name="connsiteY0" fmla="*/ 3175 h 1754184"/>
              <a:gd name="connsiteX1" fmla="*/ 4239190 w 5157228"/>
              <a:gd name="connsiteY1" fmla="*/ 0 h 1754184"/>
              <a:gd name="connsiteX2" fmla="*/ 5157228 w 5157228"/>
              <a:gd name="connsiteY2" fmla="*/ 876300 h 1754184"/>
              <a:gd name="connsiteX3" fmla="*/ 4239190 w 5157228"/>
              <a:gd name="connsiteY3" fmla="*/ 1752600 h 1754184"/>
              <a:gd name="connsiteX4" fmla="*/ 23550 w 5157228"/>
              <a:gd name="connsiteY4" fmla="*/ 1754184 h 1754184"/>
              <a:gd name="connsiteX5" fmla="*/ 0 w 5157228"/>
              <a:gd name="connsiteY5" fmla="*/ 3175 h 1754184"/>
              <a:gd name="connsiteX0" fmla="*/ 5523 w 5162751"/>
              <a:gd name="connsiteY0" fmla="*/ 3175 h 1752601"/>
              <a:gd name="connsiteX1" fmla="*/ 4244713 w 5162751"/>
              <a:gd name="connsiteY1" fmla="*/ 0 h 1752601"/>
              <a:gd name="connsiteX2" fmla="*/ 5162751 w 5162751"/>
              <a:gd name="connsiteY2" fmla="*/ 876300 h 1752601"/>
              <a:gd name="connsiteX3" fmla="*/ 4244713 w 5162751"/>
              <a:gd name="connsiteY3" fmla="*/ 1752600 h 1752601"/>
              <a:gd name="connsiteX4" fmla="*/ 297 w 5162751"/>
              <a:gd name="connsiteY4" fmla="*/ 1745962 h 1752601"/>
              <a:gd name="connsiteX5" fmla="*/ 5523 w 5162751"/>
              <a:gd name="connsiteY5" fmla="*/ 3175 h 1752601"/>
              <a:gd name="connsiteX0" fmla="*/ 0 w 6152287"/>
              <a:gd name="connsiteY0" fmla="*/ 3175 h 1752600"/>
              <a:gd name="connsiteX1" fmla="*/ 5234249 w 6152287"/>
              <a:gd name="connsiteY1" fmla="*/ 0 h 1752600"/>
              <a:gd name="connsiteX2" fmla="*/ 6152287 w 6152287"/>
              <a:gd name="connsiteY2" fmla="*/ 876300 h 1752600"/>
              <a:gd name="connsiteX3" fmla="*/ 5234249 w 6152287"/>
              <a:gd name="connsiteY3" fmla="*/ 1752600 h 1752600"/>
              <a:gd name="connsiteX4" fmla="*/ 989833 w 6152287"/>
              <a:gd name="connsiteY4" fmla="*/ 1745962 h 1752600"/>
              <a:gd name="connsiteX5" fmla="*/ 0 w 6152287"/>
              <a:gd name="connsiteY5" fmla="*/ 3175 h 1752600"/>
              <a:gd name="connsiteX0" fmla="*/ 968 w 6153255"/>
              <a:gd name="connsiteY0" fmla="*/ 3175 h 1752600"/>
              <a:gd name="connsiteX1" fmla="*/ 5235217 w 6153255"/>
              <a:gd name="connsiteY1" fmla="*/ 0 h 1752600"/>
              <a:gd name="connsiteX2" fmla="*/ 6153255 w 6153255"/>
              <a:gd name="connsiteY2" fmla="*/ 876300 h 1752600"/>
              <a:gd name="connsiteX3" fmla="*/ 5235217 w 6153255"/>
              <a:gd name="connsiteY3" fmla="*/ 1752600 h 1752600"/>
              <a:gd name="connsiteX4" fmla="*/ 548 w 6153255"/>
              <a:gd name="connsiteY4" fmla="*/ 1750114 h 1752600"/>
              <a:gd name="connsiteX5" fmla="*/ 968 w 6153255"/>
              <a:gd name="connsiteY5" fmla="*/ 3175 h 1752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153255" h="1752600">
                <a:moveTo>
                  <a:pt x="968" y="3175"/>
                </a:moveTo>
                <a:lnTo>
                  <a:pt x="5235217" y="0"/>
                </a:lnTo>
                <a:cubicBezTo>
                  <a:pt x="5742235" y="0"/>
                  <a:pt x="6153255" y="392333"/>
                  <a:pt x="6153255" y="876300"/>
                </a:cubicBezTo>
                <a:cubicBezTo>
                  <a:pt x="6153255" y="1360267"/>
                  <a:pt x="5742235" y="1752600"/>
                  <a:pt x="5235217" y="1752600"/>
                </a:cubicBezTo>
                <a:lnTo>
                  <a:pt x="548" y="1750114"/>
                </a:lnTo>
                <a:cubicBezTo>
                  <a:pt x="-1507" y="1161934"/>
                  <a:pt x="3023" y="591355"/>
                  <a:pt x="968" y="3175"/>
                </a:cubicBezTo>
                <a:close/>
              </a:path>
            </a:pathLst>
          </a:custGeom>
          <a:solidFill>
            <a:schemeClr val="bg1"/>
          </a:solidFill>
        </p:spPr>
        <p:txBody>
          <a:bodyPr lIns="756000" tIns="864000" anchor="t"/>
          <a:lstStyle>
            <a:lvl1pPr marL="0" marR="0" indent="0" algn="l" defTabSz="91433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3200">
                <a:solidFill>
                  <a:schemeClr val="accent2"/>
                </a:solidFill>
                <a:latin typeface="+mj-lt"/>
              </a:defRPr>
            </a:lvl1pPr>
          </a:lstStyle>
          <a:p>
            <a:pPr lvl="0"/>
            <a:r>
              <a:rPr lang="fr-FR" dirty="0"/>
              <a:t>Titre</a:t>
            </a:r>
          </a:p>
        </p:txBody>
      </p:sp>
      <p:grpSp>
        <p:nvGrpSpPr>
          <p:cNvPr id="11" name="Groupe 13">
            <a:extLst>
              <a:ext uri="{FF2B5EF4-FFF2-40B4-BE49-F238E27FC236}">
                <a16:creationId xmlns="" xmlns:a16="http://schemas.microsoft.com/office/drawing/2014/main" id="{7CCF0A07-4077-467F-853A-1207B15A7BF3}"/>
              </a:ext>
            </a:extLst>
          </p:cNvPr>
          <p:cNvGrpSpPr/>
          <p:nvPr/>
        </p:nvGrpSpPr>
        <p:grpSpPr>
          <a:xfrm>
            <a:off x="11485569" y="6231199"/>
            <a:ext cx="408776" cy="405060"/>
            <a:chOff x="4763" y="1558926"/>
            <a:chExt cx="2095500" cy="2076450"/>
          </a:xfrm>
          <a:solidFill>
            <a:schemeClr val="bg1"/>
          </a:solidFill>
        </p:grpSpPr>
        <p:sp>
          <p:nvSpPr>
            <p:cNvPr id="14" name="Freeform 11">
              <a:extLst>
                <a:ext uri="{FF2B5EF4-FFF2-40B4-BE49-F238E27FC236}">
                  <a16:creationId xmlns="" xmlns:a16="http://schemas.microsoft.com/office/drawing/2014/main" id="{C2FAE62F-4447-43D3-942D-2D308A1076CE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1808164"/>
              <a:ext cx="663575" cy="841375"/>
            </a:xfrm>
            <a:custGeom>
              <a:avLst/>
              <a:gdLst>
                <a:gd name="T0" fmla="*/ 302 w 302"/>
                <a:gd name="T1" fmla="*/ 151 h 383"/>
                <a:gd name="T2" fmla="*/ 151 w 302"/>
                <a:gd name="T3" fmla="*/ 0 h 383"/>
                <a:gd name="T4" fmla="*/ 0 w 302"/>
                <a:gd name="T5" fmla="*/ 151 h 383"/>
                <a:gd name="T6" fmla="*/ 0 w 302"/>
                <a:gd name="T7" fmla="*/ 232 h 383"/>
                <a:gd name="T8" fmla="*/ 151 w 302"/>
                <a:gd name="T9" fmla="*/ 383 h 383"/>
                <a:gd name="T10" fmla="*/ 302 w 302"/>
                <a:gd name="T11" fmla="*/ 232 h 383"/>
                <a:gd name="T12" fmla="*/ 302 w 302"/>
                <a:gd name="T13" fmla="*/ 1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383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218"/>
                    <a:pt x="0" y="232"/>
                  </a:cubicBezTo>
                  <a:cubicBezTo>
                    <a:pt x="0" y="315"/>
                    <a:pt x="67" y="383"/>
                    <a:pt x="151" y="383"/>
                  </a:cubicBezTo>
                  <a:cubicBezTo>
                    <a:pt x="234" y="383"/>
                    <a:pt x="302" y="315"/>
                    <a:pt x="302" y="232"/>
                  </a:cubicBezTo>
                  <a:cubicBezTo>
                    <a:pt x="302" y="218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5" name="Freeform 12">
              <a:extLst>
                <a:ext uri="{FF2B5EF4-FFF2-40B4-BE49-F238E27FC236}">
                  <a16:creationId xmlns="" xmlns:a16="http://schemas.microsoft.com/office/drawing/2014/main" id="{6FC00282-69E4-47FA-8D00-9F354DB540B8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16" name="Freeform 13">
              <a:extLst>
                <a:ext uri="{FF2B5EF4-FFF2-40B4-BE49-F238E27FC236}">
                  <a16:creationId xmlns="" xmlns:a16="http://schemas.microsoft.com/office/drawing/2014/main" id="{0AB8EF1D-C516-4B59-AD22-F72DE3865854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75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</p:grpSp>
      <p:sp>
        <p:nvSpPr>
          <p:cNvPr id="19" name="ZoneTexte 18">
            <a:extLst>
              <a:ext uri="{FF2B5EF4-FFF2-40B4-BE49-F238E27FC236}">
                <a16:creationId xmlns="" xmlns:a16="http://schemas.microsoft.com/office/drawing/2014/main" id="{2F52CBC8-D638-42C0-AFD3-3ED993C822F0}"/>
              </a:ext>
            </a:extLst>
          </p:cNvPr>
          <p:cNvSpPr txBox="1"/>
          <p:nvPr/>
        </p:nvSpPr>
        <p:spPr>
          <a:xfrm>
            <a:off x="10261601" y="6515388"/>
            <a:ext cx="1146905" cy="143565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0" rIns="48000" bIns="0" rtlCol="0" anchor="ctr">
            <a:spAutoFit/>
          </a:bodyPr>
          <a:lstStyle/>
          <a:p>
            <a:pPr>
              <a:spcBef>
                <a:spcPts val="800"/>
              </a:spcBef>
            </a:pPr>
            <a:r>
              <a:rPr lang="fr-FR" sz="933" dirty="0">
                <a:solidFill>
                  <a:srgbClr val="FFFFFF"/>
                </a:solidFill>
              </a:rPr>
              <a:t>Confidentiel © PMP</a:t>
            </a:r>
          </a:p>
        </p:txBody>
      </p:sp>
      <p:sp>
        <p:nvSpPr>
          <p:cNvPr id="24" name="Délai  9">
            <a:extLst>
              <a:ext uri="{FF2B5EF4-FFF2-40B4-BE49-F238E27FC236}">
                <a16:creationId xmlns="" xmlns:a16="http://schemas.microsoft.com/office/drawing/2014/main" id="{70B79A36-B2C7-41D2-81E3-A59ECB735039}"/>
              </a:ext>
            </a:extLst>
          </p:cNvPr>
          <p:cNvSpPr/>
          <p:nvPr/>
        </p:nvSpPr>
        <p:spPr>
          <a:xfrm>
            <a:off x="0" y="2755342"/>
            <a:ext cx="3165605" cy="2983287"/>
          </a:xfrm>
          <a:custGeom>
            <a:avLst/>
            <a:gdLst>
              <a:gd name="connsiteX0" fmla="*/ 0 w 2202485"/>
              <a:gd name="connsiteY0" fmla="*/ 0 h 2202485"/>
              <a:gd name="connsiteX1" fmla="*/ 1101243 w 2202485"/>
              <a:gd name="connsiteY1" fmla="*/ 0 h 2202485"/>
              <a:gd name="connsiteX2" fmla="*/ 2202486 w 2202485"/>
              <a:gd name="connsiteY2" fmla="*/ 1101243 h 2202485"/>
              <a:gd name="connsiteX3" fmla="*/ 1101243 w 2202485"/>
              <a:gd name="connsiteY3" fmla="*/ 2202486 h 2202485"/>
              <a:gd name="connsiteX4" fmla="*/ 0 w 2202485"/>
              <a:gd name="connsiteY4" fmla="*/ 2202485 h 2202485"/>
              <a:gd name="connsiteX5" fmla="*/ 0 w 2202485"/>
              <a:gd name="connsiteY5" fmla="*/ 0 h 2202485"/>
              <a:gd name="connsiteX0" fmla="*/ 0 w 2376658"/>
              <a:gd name="connsiteY0" fmla="*/ 4354 h 2202486"/>
              <a:gd name="connsiteX1" fmla="*/ 1275415 w 2376658"/>
              <a:gd name="connsiteY1" fmla="*/ 0 h 2202486"/>
              <a:gd name="connsiteX2" fmla="*/ 2376658 w 2376658"/>
              <a:gd name="connsiteY2" fmla="*/ 1101243 h 2202486"/>
              <a:gd name="connsiteX3" fmla="*/ 1275415 w 2376658"/>
              <a:gd name="connsiteY3" fmla="*/ 2202486 h 2202486"/>
              <a:gd name="connsiteX4" fmla="*/ 174172 w 2376658"/>
              <a:gd name="connsiteY4" fmla="*/ 2202485 h 2202486"/>
              <a:gd name="connsiteX5" fmla="*/ 0 w 2376658"/>
              <a:gd name="connsiteY5" fmla="*/ 4354 h 2202486"/>
              <a:gd name="connsiteX0" fmla="*/ 4354 w 2381012"/>
              <a:gd name="connsiteY0" fmla="*/ 4354 h 2202486"/>
              <a:gd name="connsiteX1" fmla="*/ 1279769 w 2381012"/>
              <a:gd name="connsiteY1" fmla="*/ 0 h 2202486"/>
              <a:gd name="connsiteX2" fmla="*/ 2381012 w 2381012"/>
              <a:gd name="connsiteY2" fmla="*/ 1101243 h 2202486"/>
              <a:gd name="connsiteX3" fmla="*/ 1279769 w 2381012"/>
              <a:gd name="connsiteY3" fmla="*/ 2202486 h 2202486"/>
              <a:gd name="connsiteX4" fmla="*/ 0 w 2381012"/>
              <a:gd name="connsiteY4" fmla="*/ 2198131 h 2202486"/>
              <a:gd name="connsiteX5" fmla="*/ 4354 w 2381012"/>
              <a:gd name="connsiteY5" fmla="*/ 4354 h 2202486"/>
              <a:gd name="connsiteX0" fmla="*/ 39194 w 2381012"/>
              <a:gd name="connsiteY0" fmla="*/ 8225 h 2202486"/>
              <a:gd name="connsiteX1" fmla="*/ 1279769 w 2381012"/>
              <a:gd name="connsiteY1" fmla="*/ 0 h 2202486"/>
              <a:gd name="connsiteX2" fmla="*/ 2381012 w 2381012"/>
              <a:gd name="connsiteY2" fmla="*/ 1101243 h 2202486"/>
              <a:gd name="connsiteX3" fmla="*/ 1279769 w 2381012"/>
              <a:gd name="connsiteY3" fmla="*/ 2202486 h 2202486"/>
              <a:gd name="connsiteX4" fmla="*/ 0 w 2381012"/>
              <a:gd name="connsiteY4" fmla="*/ 2198131 h 2202486"/>
              <a:gd name="connsiteX5" fmla="*/ 39194 w 2381012"/>
              <a:gd name="connsiteY5" fmla="*/ 8225 h 2202486"/>
              <a:gd name="connsiteX0" fmla="*/ 106 w 2341924"/>
              <a:gd name="connsiteY0" fmla="*/ 8225 h 2205873"/>
              <a:gd name="connsiteX1" fmla="*/ 1240681 w 2341924"/>
              <a:gd name="connsiteY1" fmla="*/ 0 h 2205873"/>
              <a:gd name="connsiteX2" fmla="*/ 2341924 w 2341924"/>
              <a:gd name="connsiteY2" fmla="*/ 1101243 h 2205873"/>
              <a:gd name="connsiteX3" fmla="*/ 1240681 w 2341924"/>
              <a:gd name="connsiteY3" fmla="*/ 2202486 h 2205873"/>
              <a:gd name="connsiteX4" fmla="*/ 11236 w 2341924"/>
              <a:gd name="connsiteY4" fmla="*/ 2205873 h 2205873"/>
              <a:gd name="connsiteX5" fmla="*/ 106 w 2341924"/>
              <a:gd name="connsiteY5" fmla="*/ 8225 h 2205873"/>
              <a:gd name="connsiteX0" fmla="*/ 106 w 2341924"/>
              <a:gd name="connsiteY0" fmla="*/ 0 h 2207044"/>
              <a:gd name="connsiteX1" fmla="*/ 1240681 w 2341924"/>
              <a:gd name="connsiteY1" fmla="*/ 1171 h 2207044"/>
              <a:gd name="connsiteX2" fmla="*/ 2341924 w 2341924"/>
              <a:gd name="connsiteY2" fmla="*/ 1102414 h 2207044"/>
              <a:gd name="connsiteX3" fmla="*/ 1240681 w 2341924"/>
              <a:gd name="connsiteY3" fmla="*/ 2203657 h 2207044"/>
              <a:gd name="connsiteX4" fmla="*/ 11236 w 2341924"/>
              <a:gd name="connsiteY4" fmla="*/ 2207044 h 2207044"/>
              <a:gd name="connsiteX5" fmla="*/ 106 w 2341924"/>
              <a:gd name="connsiteY5" fmla="*/ 0 h 22070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341924" h="2207044">
                <a:moveTo>
                  <a:pt x="106" y="0"/>
                </a:moveTo>
                <a:lnTo>
                  <a:pt x="1240681" y="1171"/>
                </a:lnTo>
                <a:cubicBezTo>
                  <a:pt x="1848881" y="1171"/>
                  <a:pt x="2341924" y="494214"/>
                  <a:pt x="2341924" y="1102414"/>
                </a:cubicBezTo>
                <a:cubicBezTo>
                  <a:pt x="2341924" y="1710614"/>
                  <a:pt x="1848881" y="2203657"/>
                  <a:pt x="1240681" y="2203657"/>
                </a:cubicBezTo>
                <a:lnTo>
                  <a:pt x="11236" y="2207044"/>
                </a:lnTo>
                <a:cubicBezTo>
                  <a:pt x="12687" y="1475785"/>
                  <a:pt x="-1345" y="731259"/>
                  <a:pt x="106" y="0"/>
                </a:cubicBezTo>
                <a:close/>
              </a:path>
            </a:pathLst>
          </a:custGeom>
          <a:gradFill>
            <a:gsLst>
              <a:gs pos="0">
                <a:schemeClr val="accent5"/>
              </a:gs>
              <a:gs pos="39000">
                <a:schemeClr val="accent2"/>
              </a:gs>
            </a:gsLst>
            <a:lin ang="0" scaled="0"/>
          </a:gradFill>
          <a:ln w="6350" cap="flat" cmpd="sng" algn="ctr">
            <a:noFill/>
            <a:prstDash val="solid"/>
            <a:miter lim="800000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000" tIns="48000" rIns="48000" bIns="48000" rtlCol="0" anchor="t"/>
          <a:lstStyle/>
          <a:p>
            <a:pPr algn="ctr"/>
            <a:endParaRPr lang="fr-FR" sz="2133" dirty="0">
              <a:solidFill>
                <a:srgbClr val="323748"/>
              </a:solidFill>
            </a:endParaRPr>
          </a:p>
        </p:txBody>
      </p:sp>
      <p:grpSp>
        <p:nvGrpSpPr>
          <p:cNvPr id="25" name="Groupe 24">
            <a:extLst>
              <a:ext uri="{FF2B5EF4-FFF2-40B4-BE49-F238E27FC236}">
                <a16:creationId xmlns="" xmlns:a16="http://schemas.microsoft.com/office/drawing/2014/main" id="{F2471E69-2B30-4307-8C34-A6A907168A09}"/>
              </a:ext>
            </a:extLst>
          </p:cNvPr>
          <p:cNvGrpSpPr/>
          <p:nvPr/>
        </p:nvGrpSpPr>
        <p:grpSpPr>
          <a:xfrm>
            <a:off x="990927" y="3332989"/>
            <a:ext cx="1241471" cy="1824203"/>
            <a:chOff x="0" y="1558926"/>
            <a:chExt cx="2100263" cy="3086101"/>
          </a:xfrm>
          <a:solidFill>
            <a:schemeClr val="bg1"/>
          </a:solidFill>
        </p:grpSpPr>
        <p:sp>
          <p:nvSpPr>
            <p:cNvPr id="26" name="Freeform 11">
              <a:extLst>
                <a:ext uri="{FF2B5EF4-FFF2-40B4-BE49-F238E27FC236}">
                  <a16:creationId xmlns="" xmlns:a16="http://schemas.microsoft.com/office/drawing/2014/main" id="{DC40D13C-B5ED-4ACD-9214-8F690FDEC862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1808164"/>
              <a:ext cx="663575" cy="841375"/>
            </a:xfrm>
            <a:custGeom>
              <a:avLst/>
              <a:gdLst>
                <a:gd name="T0" fmla="*/ 302 w 302"/>
                <a:gd name="T1" fmla="*/ 151 h 383"/>
                <a:gd name="T2" fmla="*/ 151 w 302"/>
                <a:gd name="T3" fmla="*/ 0 h 383"/>
                <a:gd name="T4" fmla="*/ 0 w 302"/>
                <a:gd name="T5" fmla="*/ 151 h 383"/>
                <a:gd name="T6" fmla="*/ 0 w 302"/>
                <a:gd name="T7" fmla="*/ 232 h 383"/>
                <a:gd name="T8" fmla="*/ 151 w 302"/>
                <a:gd name="T9" fmla="*/ 383 h 383"/>
                <a:gd name="T10" fmla="*/ 302 w 302"/>
                <a:gd name="T11" fmla="*/ 232 h 383"/>
                <a:gd name="T12" fmla="*/ 302 w 302"/>
                <a:gd name="T13" fmla="*/ 1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383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218"/>
                    <a:pt x="0" y="232"/>
                  </a:cubicBezTo>
                  <a:cubicBezTo>
                    <a:pt x="0" y="315"/>
                    <a:pt x="67" y="383"/>
                    <a:pt x="151" y="383"/>
                  </a:cubicBezTo>
                  <a:cubicBezTo>
                    <a:pt x="234" y="383"/>
                    <a:pt x="302" y="315"/>
                    <a:pt x="302" y="232"/>
                  </a:cubicBezTo>
                  <a:cubicBezTo>
                    <a:pt x="302" y="218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7" name="Freeform 12">
              <a:extLst>
                <a:ext uri="{FF2B5EF4-FFF2-40B4-BE49-F238E27FC236}">
                  <a16:creationId xmlns="" xmlns:a16="http://schemas.microsoft.com/office/drawing/2014/main" id="{78AB8EB8-53A7-4E77-83C9-C163FA53404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8" name="Freeform 13">
              <a:extLst>
                <a:ext uri="{FF2B5EF4-FFF2-40B4-BE49-F238E27FC236}">
                  <a16:creationId xmlns="" xmlns:a16="http://schemas.microsoft.com/office/drawing/2014/main" id="{87AC1CA0-1DD3-41B7-A3D4-48AF10A629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75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29" name="Freeform 14">
              <a:extLst>
                <a:ext uri="{FF2B5EF4-FFF2-40B4-BE49-F238E27FC236}">
                  <a16:creationId xmlns="" xmlns:a16="http://schemas.microsoft.com/office/drawing/2014/main" id="{3031B107-58A6-4DDA-86CC-E9758C96F2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0" y="4530726"/>
              <a:ext cx="131763" cy="112713"/>
            </a:xfrm>
            <a:custGeom>
              <a:avLst/>
              <a:gdLst>
                <a:gd name="T0" fmla="*/ 60 w 60"/>
                <a:gd name="T1" fmla="*/ 37 h 51"/>
                <a:gd name="T2" fmla="*/ 41 w 60"/>
                <a:gd name="T3" fmla="*/ 51 h 51"/>
                <a:gd name="T4" fmla="*/ 0 w 60"/>
                <a:gd name="T5" fmla="*/ 51 h 51"/>
                <a:gd name="T6" fmla="*/ 0 w 60"/>
                <a:gd name="T7" fmla="*/ 0 h 51"/>
                <a:gd name="T8" fmla="*/ 41 w 60"/>
                <a:gd name="T9" fmla="*/ 0 h 51"/>
                <a:gd name="T10" fmla="*/ 58 w 60"/>
                <a:gd name="T11" fmla="*/ 14 h 51"/>
                <a:gd name="T12" fmla="*/ 51 w 60"/>
                <a:gd name="T13" fmla="*/ 25 h 51"/>
                <a:gd name="T14" fmla="*/ 60 w 60"/>
                <a:gd name="T15" fmla="*/ 37 h 51"/>
                <a:gd name="T16" fmla="*/ 50 w 60"/>
                <a:gd name="T17" fmla="*/ 14 h 51"/>
                <a:gd name="T18" fmla="*/ 42 w 60"/>
                <a:gd name="T19" fmla="*/ 8 h 51"/>
                <a:gd name="T20" fmla="*/ 9 w 60"/>
                <a:gd name="T21" fmla="*/ 8 h 51"/>
                <a:gd name="T22" fmla="*/ 9 w 60"/>
                <a:gd name="T23" fmla="*/ 21 h 51"/>
                <a:gd name="T24" fmla="*/ 41 w 60"/>
                <a:gd name="T25" fmla="*/ 21 h 51"/>
                <a:gd name="T26" fmla="*/ 50 w 60"/>
                <a:gd name="T27" fmla="*/ 14 h 51"/>
                <a:gd name="T28" fmla="*/ 51 w 60"/>
                <a:gd name="T29" fmla="*/ 36 h 51"/>
                <a:gd name="T30" fmla="*/ 42 w 60"/>
                <a:gd name="T31" fmla="*/ 29 h 51"/>
                <a:gd name="T32" fmla="*/ 9 w 60"/>
                <a:gd name="T33" fmla="*/ 29 h 51"/>
                <a:gd name="T34" fmla="*/ 9 w 60"/>
                <a:gd name="T35" fmla="*/ 43 h 51"/>
                <a:gd name="T36" fmla="*/ 41 w 60"/>
                <a:gd name="T37" fmla="*/ 43 h 51"/>
                <a:gd name="T38" fmla="*/ 51 w 60"/>
                <a:gd name="T39" fmla="*/ 36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0" h="51">
                  <a:moveTo>
                    <a:pt x="60" y="37"/>
                  </a:moveTo>
                  <a:cubicBezTo>
                    <a:pt x="60" y="46"/>
                    <a:pt x="53" y="51"/>
                    <a:pt x="41" y="51"/>
                  </a:cubicBezTo>
                  <a:cubicBezTo>
                    <a:pt x="0" y="51"/>
                    <a:pt x="0" y="51"/>
                    <a:pt x="0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2" y="0"/>
                    <a:pt x="58" y="5"/>
                    <a:pt x="58" y="14"/>
                  </a:cubicBezTo>
                  <a:cubicBezTo>
                    <a:pt x="58" y="19"/>
                    <a:pt x="56" y="22"/>
                    <a:pt x="51" y="25"/>
                  </a:cubicBezTo>
                  <a:cubicBezTo>
                    <a:pt x="57" y="26"/>
                    <a:pt x="60" y="31"/>
                    <a:pt x="60" y="37"/>
                  </a:cubicBezTo>
                  <a:close/>
                  <a:moveTo>
                    <a:pt x="50" y="14"/>
                  </a:moveTo>
                  <a:cubicBezTo>
                    <a:pt x="50" y="10"/>
                    <a:pt x="46" y="8"/>
                    <a:pt x="42" y="8"/>
                  </a:cubicBezTo>
                  <a:cubicBezTo>
                    <a:pt x="9" y="8"/>
                    <a:pt x="9" y="8"/>
                    <a:pt x="9" y="8"/>
                  </a:cubicBezTo>
                  <a:cubicBezTo>
                    <a:pt x="9" y="21"/>
                    <a:pt x="9" y="21"/>
                    <a:pt x="9" y="21"/>
                  </a:cubicBezTo>
                  <a:cubicBezTo>
                    <a:pt x="41" y="21"/>
                    <a:pt x="41" y="21"/>
                    <a:pt x="41" y="21"/>
                  </a:cubicBezTo>
                  <a:cubicBezTo>
                    <a:pt x="46" y="21"/>
                    <a:pt x="50" y="18"/>
                    <a:pt x="50" y="14"/>
                  </a:cubicBezTo>
                  <a:close/>
                  <a:moveTo>
                    <a:pt x="51" y="36"/>
                  </a:moveTo>
                  <a:cubicBezTo>
                    <a:pt x="51" y="31"/>
                    <a:pt x="48" y="29"/>
                    <a:pt x="42" y="29"/>
                  </a:cubicBezTo>
                  <a:cubicBezTo>
                    <a:pt x="9" y="29"/>
                    <a:pt x="9" y="29"/>
                    <a:pt x="9" y="29"/>
                  </a:cubicBezTo>
                  <a:cubicBezTo>
                    <a:pt x="9" y="43"/>
                    <a:pt x="9" y="43"/>
                    <a:pt x="9" y="43"/>
                  </a:cubicBezTo>
                  <a:cubicBezTo>
                    <a:pt x="41" y="43"/>
                    <a:pt x="41" y="43"/>
                    <a:pt x="41" y="43"/>
                  </a:cubicBezTo>
                  <a:cubicBezTo>
                    <a:pt x="48" y="43"/>
                    <a:pt x="51" y="41"/>
                    <a:pt x="51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0" name="Freeform 15">
              <a:extLst>
                <a:ext uri="{FF2B5EF4-FFF2-40B4-BE49-F238E27FC236}">
                  <a16:creationId xmlns="" xmlns:a16="http://schemas.microsoft.com/office/drawing/2014/main" id="{0D4F190B-5002-473E-87AB-B3F970B8644F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338" y="4549776"/>
              <a:ext cx="100013" cy="93663"/>
            </a:xfrm>
            <a:custGeom>
              <a:avLst/>
              <a:gdLst>
                <a:gd name="T0" fmla="*/ 0 w 63"/>
                <a:gd name="T1" fmla="*/ 59 h 59"/>
                <a:gd name="T2" fmla="*/ 0 w 63"/>
                <a:gd name="T3" fmla="*/ 0 h 59"/>
                <a:gd name="T4" fmla="*/ 62 w 63"/>
                <a:gd name="T5" fmla="*/ 0 h 59"/>
                <a:gd name="T6" fmla="*/ 62 w 63"/>
                <a:gd name="T7" fmla="*/ 9 h 59"/>
                <a:gd name="T8" fmla="*/ 11 w 63"/>
                <a:gd name="T9" fmla="*/ 9 h 59"/>
                <a:gd name="T10" fmla="*/ 11 w 63"/>
                <a:gd name="T11" fmla="*/ 22 h 59"/>
                <a:gd name="T12" fmla="*/ 47 w 63"/>
                <a:gd name="T13" fmla="*/ 22 h 59"/>
                <a:gd name="T14" fmla="*/ 47 w 63"/>
                <a:gd name="T15" fmla="*/ 33 h 59"/>
                <a:gd name="T16" fmla="*/ 11 w 63"/>
                <a:gd name="T17" fmla="*/ 33 h 59"/>
                <a:gd name="T18" fmla="*/ 11 w 63"/>
                <a:gd name="T19" fmla="*/ 48 h 59"/>
                <a:gd name="T20" fmla="*/ 63 w 63"/>
                <a:gd name="T21" fmla="*/ 48 h 59"/>
                <a:gd name="T22" fmla="*/ 63 w 63"/>
                <a:gd name="T23" fmla="*/ 59 h 59"/>
                <a:gd name="T24" fmla="*/ 0 w 63"/>
                <a:gd name="T25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3" h="59">
                  <a:moveTo>
                    <a:pt x="0" y="59"/>
                  </a:moveTo>
                  <a:lnTo>
                    <a:pt x="0" y="0"/>
                  </a:lnTo>
                  <a:lnTo>
                    <a:pt x="62" y="0"/>
                  </a:lnTo>
                  <a:lnTo>
                    <a:pt x="62" y="9"/>
                  </a:lnTo>
                  <a:lnTo>
                    <a:pt x="11" y="9"/>
                  </a:lnTo>
                  <a:lnTo>
                    <a:pt x="11" y="22"/>
                  </a:lnTo>
                  <a:lnTo>
                    <a:pt x="47" y="22"/>
                  </a:lnTo>
                  <a:lnTo>
                    <a:pt x="47" y="33"/>
                  </a:lnTo>
                  <a:lnTo>
                    <a:pt x="11" y="33"/>
                  </a:lnTo>
                  <a:lnTo>
                    <a:pt x="11" y="48"/>
                  </a:lnTo>
                  <a:lnTo>
                    <a:pt x="63" y="48"/>
                  </a:lnTo>
                  <a:lnTo>
                    <a:pt x="63" y="59"/>
                  </a:lnTo>
                  <a:lnTo>
                    <a:pt x="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1" name="Freeform 16">
              <a:extLst>
                <a:ext uri="{FF2B5EF4-FFF2-40B4-BE49-F238E27FC236}">
                  <a16:creationId xmlns="" xmlns:a16="http://schemas.microsoft.com/office/drawing/2014/main" id="{22C439A6-CF20-41A4-9EF2-55BBB6E6E314}"/>
                </a:ext>
              </a:extLst>
            </p:cNvPr>
            <p:cNvSpPr>
              <a:spLocks/>
            </p:cNvSpPr>
            <p:nvPr/>
          </p:nvSpPr>
          <p:spPr bwMode="auto">
            <a:xfrm>
              <a:off x="266700" y="4549776"/>
              <a:ext cx="125413" cy="93663"/>
            </a:xfrm>
            <a:custGeom>
              <a:avLst/>
              <a:gdLst>
                <a:gd name="T0" fmla="*/ 46 w 79"/>
                <a:gd name="T1" fmla="*/ 36 h 59"/>
                <a:gd name="T2" fmla="*/ 46 w 79"/>
                <a:gd name="T3" fmla="*/ 59 h 59"/>
                <a:gd name="T4" fmla="*/ 35 w 79"/>
                <a:gd name="T5" fmla="*/ 59 h 59"/>
                <a:gd name="T6" fmla="*/ 35 w 79"/>
                <a:gd name="T7" fmla="*/ 36 h 59"/>
                <a:gd name="T8" fmla="*/ 0 w 79"/>
                <a:gd name="T9" fmla="*/ 0 h 59"/>
                <a:gd name="T10" fmla="*/ 14 w 79"/>
                <a:gd name="T11" fmla="*/ 0 h 59"/>
                <a:gd name="T12" fmla="*/ 41 w 79"/>
                <a:gd name="T13" fmla="*/ 26 h 59"/>
                <a:gd name="T14" fmla="*/ 65 w 79"/>
                <a:gd name="T15" fmla="*/ 0 h 59"/>
                <a:gd name="T16" fmla="*/ 79 w 79"/>
                <a:gd name="T17" fmla="*/ 0 h 59"/>
                <a:gd name="T18" fmla="*/ 46 w 79"/>
                <a:gd name="T19" fmla="*/ 36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9" h="59">
                  <a:moveTo>
                    <a:pt x="46" y="36"/>
                  </a:moveTo>
                  <a:lnTo>
                    <a:pt x="46" y="59"/>
                  </a:lnTo>
                  <a:lnTo>
                    <a:pt x="35" y="59"/>
                  </a:lnTo>
                  <a:lnTo>
                    <a:pt x="35" y="36"/>
                  </a:lnTo>
                  <a:lnTo>
                    <a:pt x="0" y="0"/>
                  </a:lnTo>
                  <a:lnTo>
                    <a:pt x="14" y="0"/>
                  </a:lnTo>
                  <a:lnTo>
                    <a:pt x="41" y="26"/>
                  </a:lnTo>
                  <a:lnTo>
                    <a:pt x="65" y="0"/>
                  </a:lnTo>
                  <a:lnTo>
                    <a:pt x="79" y="0"/>
                  </a:lnTo>
                  <a:lnTo>
                    <a:pt x="46" y="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2" name="Freeform 17">
              <a:extLst>
                <a:ext uri="{FF2B5EF4-FFF2-40B4-BE49-F238E27FC236}">
                  <a16:creationId xmlns="" xmlns:a16="http://schemas.microsoft.com/office/drawing/2014/main" id="{7850C87B-5391-4449-91C8-3EE7C5FFF36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5288" y="4545014"/>
              <a:ext cx="123825" cy="100013"/>
            </a:xfrm>
            <a:custGeom>
              <a:avLst/>
              <a:gdLst>
                <a:gd name="T0" fmla="*/ 48 w 57"/>
                <a:gd name="T1" fmla="*/ 40 h 46"/>
                <a:gd name="T2" fmla="*/ 28 w 57"/>
                <a:gd name="T3" fmla="*/ 46 h 46"/>
                <a:gd name="T4" fmla="*/ 9 w 57"/>
                <a:gd name="T5" fmla="*/ 40 h 46"/>
                <a:gd name="T6" fmla="*/ 0 w 57"/>
                <a:gd name="T7" fmla="*/ 23 h 46"/>
                <a:gd name="T8" fmla="*/ 9 w 57"/>
                <a:gd name="T9" fmla="*/ 6 h 46"/>
                <a:gd name="T10" fmla="*/ 28 w 57"/>
                <a:gd name="T11" fmla="*/ 0 h 46"/>
                <a:gd name="T12" fmla="*/ 48 w 57"/>
                <a:gd name="T13" fmla="*/ 6 h 46"/>
                <a:gd name="T14" fmla="*/ 57 w 57"/>
                <a:gd name="T15" fmla="*/ 23 h 46"/>
                <a:gd name="T16" fmla="*/ 48 w 57"/>
                <a:gd name="T17" fmla="*/ 40 h 46"/>
                <a:gd name="T18" fmla="*/ 28 w 57"/>
                <a:gd name="T19" fmla="*/ 8 h 46"/>
                <a:gd name="T20" fmla="*/ 9 w 57"/>
                <a:gd name="T21" fmla="*/ 23 h 46"/>
                <a:gd name="T22" fmla="*/ 28 w 57"/>
                <a:gd name="T23" fmla="*/ 38 h 46"/>
                <a:gd name="T24" fmla="*/ 48 w 57"/>
                <a:gd name="T25" fmla="*/ 23 h 46"/>
                <a:gd name="T26" fmla="*/ 28 w 57"/>
                <a:gd name="T2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46">
                  <a:moveTo>
                    <a:pt x="48" y="40"/>
                  </a:moveTo>
                  <a:cubicBezTo>
                    <a:pt x="43" y="44"/>
                    <a:pt x="36" y="46"/>
                    <a:pt x="28" y="46"/>
                  </a:cubicBezTo>
                  <a:cubicBezTo>
                    <a:pt x="21" y="46"/>
                    <a:pt x="14" y="44"/>
                    <a:pt x="9" y="40"/>
                  </a:cubicBezTo>
                  <a:cubicBezTo>
                    <a:pt x="3" y="36"/>
                    <a:pt x="0" y="30"/>
                    <a:pt x="0" y="23"/>
                  </a:cubicBezTo>
                  <a:cubicBezTo>
                    <a:pt x="0" y="16"/>
                    <a:pt x="3" y="10"/>
                    <a:pt x="9" y="6"/>
                  </a:cubicBezTo>
                  <a:cubicBezTo>
                    <a:pt x="14" y="2"/>
                    <a:pt x="21" y="0"/>
                    <a:pt x="28" y="0"/>
                  </a:cubicBezTo>
                  <a:cubicBezTo>
                    <a:pt x="36" y="0"/>
                    <a:pt x="43" y="2"/>
                    <a:pt x="48" y="6"/>
                  </a:cubicBezTo>
                  <a:cubicBezTo>
                    <a:pt x="54" y="10"/>
                    <a:pt x="57" y="16"/>
                    <a:pt x="57" y="23"/>
                  </a:cubicBezTo>
                  <a:cubicBezTo>
                    <a:pt x="57" y="30"/>
                    <a:pt x="54" y="36"/>
                    <a:pt x="48" y="40"/>
                  </a:cubicBezTo>
                  <a:close/>
                  <a:moveTo>
                    <a:pt x="28" y="8"/>
                  </a:moveTo>
                  <a:cubicBezTo>
                    <a:pt x="17" y="8"/>
                    <a:pt x="9" y="14"/>
                    <a:pt x="9" y="23"/>
                  </a:cubicBezTo>
                  <a:cubicBezTo>
                    <a:pt x="9" y="32"/>
                    <a:pt x="16" y="38"/>
                    <a:pt x="28" y="38"/>
                  </a:cubicBezTo>
                  <a:cubicBezTo>
                    <a:pt x="40" y="38"/>
                    <a:pt x="48" y="32"/>
                    <a:pt x="48" y="23"/>
                  </a:cubicBezTo>
                  <a:cubicBezTo>
                    <a:pt x="48" y="14"/>
                    <a:pt x="40" y="8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3" name="Freeform 18">
              <a:extLst>
                <a:ext uri="{FF2B5EF4-FFF2-40B4-BE49-F238E27FC236}">
                  <a16:creationId xmlns="" xmlns:a16="http://schemas.microsoft.com/office/drawing/2014/main" id="{D16D5749-FF01-4FAE-85EA-6B1B974B81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100" y="4549776"/>
              <a:ext cx="109538" cy="93663"/>
            </a:xfrm>
            <a:custGeom>
              <a:avLst/>
              <a:gdLst>
                <a:gd name="T0" fmla="*/ 51 w 69"/>
                <a:gd name="T1" fmla="*/ 59 h 59"/>
                <a:gd name="T2" fmla="*/ 11 w 69"/>
                <a:gd name="T3" fmla="*/ 9 h 59"/>
                <a:gd name="T4" fmla="*/ 11 w 69"/>
                <a:gd name="T5" fmla="*/ 59 h 59"/>
                <a:gd name="T6" fmla="*/ 0 w 69"/>
                <a:gd name="T7" fmla="*/ 59 h 59"/>
                <a:gd name="T8" fmla="*/ 0 w 69"/>
                <a:gd name="T9" fmla="*/ 0 h 59"/>
                <a:gd name="T10" fmla="*/ 16 w 69"/>
                <a:gd name="T11" fmla="*/ 0 h 59"/>
                <a:gd name="T12" fmla="*/ 57 w 69"/>
                <a:gd name="T13" fmla="*/ 48 h 59"/>
                <a:gd name="T14" fmla="*/ 57 w 69"/>
                <a:gd name="T15" fmla="*/ 0 h 59"/>
                <a:gd name="T16" fmla="*/ 69 w 69"/>
                <a:gd name="T17" fmla="*/ 0 h 59"/>
                <a:gd name="T18" fmla="*/ 69 w 69"/>
                <a:gd name="T19" fmla="*/ 59 h 59"/>
                <a:gd name="T20" fmla="*/ 51 w 69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59">
                  <a:moveTo>
                    <a:pt x="51" y="59"/>
                  </a:moveTo>
                  <a:lnTo>
                    <a:pt x="11" y="9"/>
                  </a:lnTo>
                  <a:lnTo>
                    <a:pt x="11" y="59"/>
                  </a:lnTo>
                  <a:lnTo>
                    <a:pt x="0" y="59"/>
                  </a:lnTo>
                  <a:lnTo>
                    <a:pt x="0" y="0"/>
                  </a:lnTo>
                  <a:lnTo>
                    <a:pt x="16" y="0"/>
                  </a:lnTo>
                  <a:lnTo>
                    <a:pt x="57" y="48"/>
                  </a:lnTo>
                  <a:lnTo>
                    <a:pt x="57" y="0"/>
                  </a:lnTo>
                  <a:lnTo>
                    <a:pt x="69" y="0"/>
                  </a:lnTo>
                  <a:lnTo>
                    <a:pt x="69" y="59"/>
                  </a:lnTo>
                  <a:lnTo>
                    <a:pt x="51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4" name="Freeform 19">
              <a:extLst>
                <a:ext uri="{FF2B5EF4-FFF2-40B4-BE49-F238E27FC236}">
                  <a16:creationId xmlns="" xmlns:a16="http://schemas.microsoft.com/office/drawing/2014/main" id="{C3B21A24-EF84-4B0F-8194-87B47A4CC5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5800" y="4549776"/>
              <a:ext cx="117475" cy="93663"/>
            </a:xfrm>
            <a:custGeom>
              <a:avLst/>
              <a:gdLst>
                <a:gd name="T0" fmla="*/ 53 w 53"/>
                <a:gd name="T1" fmla="*/ 21 h 43"/>
                <a:gd name="T2" fmla="*/ 46 w 53"/>
                <a:gd name="T3" fmla="*/ 37 h 43"/>
                <a:gd name="T4" fmla="*/ 30 w 53"/>
                <a:gd name="T5" fmla="*/ 43 h 43"/>
                <a:gd name="T6" fmla="*/ 0 w 53"/>
                <a:gd name="T7" fmla="*/ 43 h 43"/>
                <a:gd name="T8" fmla="*/ 0 w 53"/>
                <a:gd name="T9" fmla="*/ 0 h 43"/>
                <a:gd name="T10" fmla="*/ 28 w 53"/>
                <a:gd name="T11" fmla="*/ 0 h 43"/>
                <a:gd name="T12" fmla="*/ 53 w 53"/>
                <a:gd name="T13" fmla="*/ 21 h 43"/>
                <a:gd name="T14" fmla="*/ 44 w 53"/>
                <a:gd name="T15" fmla="*/ 21 h 43"/>
                <a:gd name="T16" fmla="*/ 29 w 53"/>
                <a:gd name="T17" fmla="*/ 7 h 43"/>
                <a:gd name="T18" fmla="*/ 9 w 53"/>
                <a:gd name="T19" fmla="*/ 7 h 43"/>
                <a:gd name="T20" fmla="*/ 9 w 53"/>
                <a:gd name="T21" fmla="*/ 35 h 43"/>
                <a:gd name="T22" fmla="*/ 30 w 53"/>
                <a:gd name="T23" fmla="*/ 35 h 43"/>
                <a:gd name="T24" fmla="*/ 44 w 53"/>
                <a:gd name="T25" fmla="*/ 21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43">
                  <a:moveTo>
                    <a:pt x="53" y="21"/>
                  </a:moveTo>
                  <a:cubicBezTo>
                    <a:pt x="53" y="27"/>
                    <a:pt x="51" y="32"/>
                    <a:pt x="46" y="37"/>
                  </a:cubicBezTo>
                  <a:cubicBezTo>
                    <a:pt x="44" y="40"/>
                    <a:pt x="37" y="43"/>
                    <a:pt x="3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0"/>
                    <a:pt x="28" y="0"/>
                    <a:pt x="28" y="0"/>
                  </a:cubicBezTo>
                  <a:cubicBezTo>
                    <a:pt x="44" y="0"/>
                    <a:pt x="53" y="9"/>
                    <a:pt x="53" y="21"/>
                  </a:cubicBezTo>
                  <a:close/>
                  <a:moveTo>
                    <a:pt x="44" y="21"/>
                  </a:moveTo>
                  <a:cubicBezTo>
                    <a:pt x="44" y="13"/>
                    <a:pt x="38" y="7"/>
                    <a:pt x="29" y="7"/>
                  </a:cubicBezTo>
                  <a:cubicBezTo>
                    <a:pt x="9" y="7"/>
                    <a:pt x="9" y="7"/>
                    <a:pt x="9" y="7"/>
                  </a:cubicBezTo>
                  <a:cubicBezTo>
                    <a:pt x="9" y="35"/>
                    <a:pt x="9" y="35"/>
                    <a:pt x="9" y="35"/>
                  </a:cubicBezTo>
                  <a:cubicBezTo>
                    <a:pt x="30" y="35"/>
                    <a:pt x="30" y="35"/>
                    <a:pt x="30" y="35"/>
                  </a:cubicBezTo>
                  <a:cubicBezTo>
                    <a:pt x="39" y="35"/>
                    <a:pt x="44" y="29"/>
                    <a:pt x="44" y="2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5" name="Freeform 20">
              <a:extLst>
                <a:ext uri="{FF2B5EF4-FFF2-40B4-BE49-F238E27FC236}">
                  <a16:creationId xmlns="" xmlns:a16="http://schemas.microsoft.com/office/drawing/2014/main" id="{A32F7A06-9CE1-46D4-8318-84B07789A47A}"/>
                </a:ext>
              </a:extLst>
            </p:cNvPr>
            <p:cNvSpPr>
              <a:spLocks/>
            </p:cNvSpPr>
            <p:nvPr/>
          </p:nvSpPr>
          <p:spPr bwMode="auto">
            <a:xfrm>
              <a:off x="869950" y="4527551"/>
              <a:ext cx="136525" cy="117475"/>
            </a:xfrm>
            <a:custGeom>
              <a:avLst/>
              <a:gdLst>
                <a:gd name="T0" fmla="*/ 54 w 62"/>
                <a:gd name="T1" fmla="*/ 16 h 54"/>
                <a:gd name="T2" fmla="*/ 33 w 62"/>
                <a:gd name="T3" fmla="*/ 8 h 54"/>
                <a:gd name="T4" fmla="*/ 9 w 62"/>
                <a:gd name="T5" fmla="*/ 27 h 54"/>
                <a:gd name="T6" fmla="*/ 33 w 62"/>
                <a:gd name="T7" fmla="*/ 46 h 54"/>
                <a:gd name="T8" fmla="*/ 54 w 62"/>
                <a:gd name="T9" fmla="*/ 38 h 54"/>
                <a:gd name="T10" fmla="*/ 62 w 62"/>
                <a:gd name="T11" fmla="*/ 42 h 54"/>
                <a:gd name="T12" fmla="*/ 33 w 62"/>
                <a:gd name="T13" fmla="*/ 54 h 54"/>
                <a:gd name="T14" fmla="*/ 11 w 62"/>
                <a:gd name="T15" fmla="*/ 47 h 54"/>
                <a:gd name="T16" fmla="*/ 0 w 62"/>
                <a:gd name="T17" fmla="*/ 27 h 54"/>
                <a:gd name="T18" fmla="*/ 11 w 62"/>
                <a:gd name="T19" fmla="*/ 7 h 54"/>
                <a:gd name="T20" fmla="*/ 33 w 62"/>
                <a:gd name="T21" fmla="*/ 0 h 54"/>
                <a:gd name="T22" fmla="*/ 62 w 62"/>
                <a:gd name="T23" fmla="*/ 14 h 54"/>
                <a:gd name="T24" fmla="*/ 54 w 62"/>
                <a:gd name="T25" fmla="*/ 16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2" h="54">
                  <a:moveTo>
                    <a:pt x="54" y="16"/>
                  </a:moveTo>
                  <a:cubicBezTo>
                    <a:pt x="49" y="11"/>
                    <a:pt x="42" y="8"/>
                    <a:pt x="33" y="8"/>
                  </a:cubicBezTo>
                  <a:cubicBezTo>
                    <a:pt x="19" y="8"/>
                    <a:pt x="9" y="16"/>
                    <a:pt x="9" y="27"/>
                  </a:cubicBezTo>
                  <a:cubicBezTo>
                    <a:pt x="9" y="39"/>
                    <a:pt x="18" y="46"/>
                    <a:pt x="33" y="46"/>
                  </a:cubicBezTo>
                  <a:cubicBezTo>
                    <a:pt x="42" y="46"/>
                    <a:pt x="49" y="44"/>
                    <a:pt x="54" y="38"/>
                  </a:cubicBezTo>
                  <a:cubicBezTo>
                    <a:pt x="62" y="42"/>
                    <a:pt x="62" y="42"/>
                    <a:pt x="62" y="42"/>
                  </a:cubicBezTo>
                  <a:cubicBezTo>
                    <a:pt x="54" y="51"/>
                    <a:pt x="45" y="54"/>
                    <a:pt x="33" y="54"/>
                  </a:cubicBezTo>
                  <a:cubicBezTo>
                    <a:pt x="24" y="54"/>
                    <a:pt x="16" y="51"/>
                    <a:pt x="11" y="47"/>
                  </a:cubicBezTo>
                  <a:cubicBezTo>
                    <a:pt x="4" y="42"/>
                    <a:pt x="0" y="35"/>
                    <a:pt x="0" y="27"/>
                  </a:cubicBezTo>
                  <a:cubicBezTo>
                    <a:pt x="0" y="19"/>
                    <a:pt x="4" y="12"/>
                    <a:pt x="11" y="7"/>
                  </a:cubicBezTo>
                  <a:cubicBezTo>
                    <a:pt x="16" y="3"/>
                    <a:pt x="24" y="0"/>
                    <a:pt x="33" y="0"/>
                  </a:cubicBezTo>
                  <a:cubicBezTo>
                    <a:pt x="45" y="0"/>
                    <a:pt x="55" y="5"/>
                    <a:pt x="62" y="14"/>
                  </a:cubicBezTo>
                  <a:lnTo>
                    <a:pt x="54" y="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6" name="Freeform 21">
              <a:extLst>
                <a:ext uri="{FF2B5EF4-FFF2-40B4-BE49-F238E27FC236}">
                  <a16:creationId xmlns="" xmlns:a16="http://schemas.microsoft.com/office/drawing/2014/main" id="{7205AB71-E289-466C-A881-020017C3B62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3938" y="4545014"/>
              <a:ext cx="122238" cy="100013"/>
            </a:xfrm>
            <a:custGeom>
              <a:avLst/>
              <a:gdLst>
                <a:gd name="T0" fmla="*/ 47 w 56"/>
                <a:gd name="T1" fmla="*/ 40 h 46"/>
                <a:gd name="T2" fmla="*/ 28 w 56"/>
                <a:gd name="T3" fmla="*/ 46 h 46"/>
                <a:gd name="T4" fmla="*/ 9 w 56"/>
                <a:gd name="T5" fmla="*/ 40 h 46"/>
                <a:gd name="T6" fmla="*/ 0 w 56"/>
                <a:gd name="T7" fmla="*/ 23 h 46"/>
                <a:gd name="T8" fmla="*/ 9 w 56"/>
                <a:gd name="T9" fmla="*/ 6 h 46"/>
                <a:gd name="T10" fmla="*/ 28 w 56"/>
                <a:gd name="T11" fmla="*/ 0 h 46"/>
                <a:gd name="T12" fmla="*/ 47 w 56"/>
                <a:gd name="T13" fmla="*/ 6 h 46"/>
                <a:gd name="T14" fmla="*/ 56 w 56"/>
                <a:gd name="T15" fmla="*/ 23 h 46"/>
                <a:gd name="T16" fmla="*/ 47 w 56"/>
                <a:gd name="T17" fmla="*/ 40 h 46"/>
                <a:gd name="T18" fmla="*/ 28 w 56"/>
                <a:gd name="T19" fmla="*/ 8 h 46"/>
                <a:gd name="T20" fmla="*/ 8 w 56"/>
                <a:gd name="T21" fmla="*/ 23 h 46"/>
                <a:gd name="T22" fmla="*/ 28 w 56"/>
                <a:gd name="T23" fmla="*/ 38 h 46"/>
                <a:gd name="T24" fmla="*/ 48 w 56"/>
                <a:gd name="T25" fmla="*/ 23 h 46"/>
                <a:gd name="T26" fmla="*/ 28 w 56"/>
                <a:gd name="T27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6" h="46">
                  <a:moveTo>
                    <a:pt x="47" y="40"/>
                  </a:moveTo>
                  <a:cubicBezTo>
                    <a:pt x="42" y="44"/>
                    <a:pt x="36" y="46"/>
                    <a:pt x="28" y="46"/>
                  </a:cubicBezTo>
                  <a:cubicBezTo>
                    <a:pt x="20" y="46"/>
                    <a:pt x="14" y="44"/>
                    <a:pt x="9" y="40"/>
                  </a:cubicBezTo>
                  <a:cubicBezTo>
                    <a:pt x="3" y="36"/>
                    <a:pt x="0" y="30"/>
                    <a:pt x="0" y="23"/>
                  </a:cubicBezTo>
                  <a:cubicBezTo>
                    <a:pt x="0" y="16"/>
                    <a:pt x="3" y="10"/>
                    <a:pt x="9" y="6"/>
                  </a:cubicBezTo>
                  <a:cubicBezTo>
                    <a:pt x="14" y="2"/>
                    <a:pt x="21" y="0"/>
                    <a:pt x="28" y="0"/>
                  </a:cubicBezTo>
                  <a:cubicBezTo>
                    <a:pt x="35" y="0"/>
                    <a:pt x="42" y="2"/>
                    <a:pt x="47" y="6"/>
                  </a:cubicBezTo>
                  <a:cubicBezTo>
                    <a:pt x="53" y="10"/>
                    <a:pt x="56" y="16"/>
                    <a:pt x="56" y="23"/>
                  </a:cubicBezTo>
                  <a:cubicBezTo>
                    <a:pt x="56" y="30"/>
                    <a:pt x="53" y="36"/>
                    <a:pt x="47" y="40"/>
                  </a:cubicBezTo>
                  <a:close/>
                  <a:moveTo>
                    <a:pt x="28" y="8"/>
                  </a:moveTo>
                  <a:cubicBezTo>
                    <a:pt x="16" y="8"/>
                    <a:pt x="8" y="14"/>
                    <a:pt x="8" y="23"/>
                  </a:cubicBezTo>
                  <a:cubicBezTo>
                    <a:pt x="8" y="32"/>
                    <a:pt x="16" y="38"/>
                    <a:pt x="28" y="38"/>
                  </a:cubicBezTo>
                  <a:cubicBezTo>
                    <a:pt x="40" y="38"/>
                    <a:pt x="48" y="32"/>
                    <a:pt x="48" y="23"/>
                  </a:cubicBezTo>
                  <a:cubicBezTo>
                    <a:pt x="48" y="14"/>
                    <a:pt x="40" y="8"/>
                    <a:pt x="28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7" name="Freeform 22">
              <a:extLst>
                <a:ext uri="{FF2B5EF4-FFF2-40B4-BE49-F238E27FC236}">
                  <a16:creationId xmlns="" xmlns:a16="http://schemas.microsoft.com/office/drawing/2014/main" id="{30B2DA6E-D224-4BA7-ABC3-4DF4F439D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73163" y="4549776"/>
              <a:ext cx="111125" cy="93663"/>
            </a:xfrm>
            <a:custGeom>
              <a:avLst/>
              <a:gdLst>
                <a:gd name="T0" fmla="*/ 52 w 70"/>
                <a:gd name="T1" fmla="*/ 59 h 59"/>
                <a:gd name="T2" fmla="*/ 12 w 70"/>
                <a:gd name="T3" fmla="*/ 9 h 59"/>
                <a:gd name="T4" fmla="*/ 12 w 70"/>
                <a:gd name="T5" fmla="*/ 59 h 59"/>
                <a:gd name="T6" fmla="*/ 0 w 70"/>
                <a:gd name="T7" fmla="*/ 59 h 59"/>
                <a:gd name="T8" fmla="*/ 0 w 70"/>
                <a:gd name="T9" fmla="*/ 0 h 59"/>
                <a:gd name="T10" fmla="*/ 18 w 70"/>
                <a:gd name="T11" fmla="*/ 0 h 59"/>
                <a:gd name="T12" fmla="*/ 58 w 70"/>
                <a:gd name="T13" fmla="*/ 48 h 59"/>
                <a:gd name="T14" fmla="*/ 58 w 70"/>
                <a:gd name="T15" fmla="*/ 0 h 59"/>
                <a:gd name="T16" fmla="*/ 70 w 70"/>
                <a:gd name="T17" fmla="*/ 0 h 59"/>
                <a:gd name="T18" fmla="*/ 70 w 70"/>
                <a:gd name="T19" fmla="*/ 59 h 59"/>
                <a:gd name="T20" fmla="*/ 52 w 70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70" h="59">
                  <a:moveTo>
                    <a:pt x="52" y="59"/>
                  </a:moveTo>
                  <a:lnTo>
                    <a:pt x="12" y="9"/>
                  </a:lnTo>
                  <a:lnTo>
                    <a:pt x="12" y="59"/>
                  </a:lnTo>
                  <a:lnTo>
                    <a:pt x="0" y="5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58" y="48"/>
                  </a:lnTo>
                  <a:lnTo>
                    <a:pt x="58" y="0"/>
                  </a:lnTo>
                  <a:lnTo>
                    <a:pt x="70" y="0"/>
                  </a:lnTo>
                  <a:lnTo>
                    <a:pt x="70" y="59"/>
                  </a:lnTo>
                  <a:lnTo>
                    <a:pt x="52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8" name="Freeform 23">
              <a:extLst>
                <a:ext uri="{FF2B5EF4-FFF2-40B4-BE49-F238E27FC236}">
                  <a16:creationId xmlns="" xmlns:a16="http://schemas.microsoft.com/office/drawing/2014/main" id="{2C7BA82E-8E3A-42AE-A6BB-2A5C4A2E55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6513" y="4545014"/>
              <a:ext cx="112713" cy="100013"/>
            </a:xfrm>
            <a:custGeom>
              <a:avLst/>
              <a:gdLst>
                <a:gd name="T0" fmla="*/ 25 w 51"/>
                <a:gd name="T1" fmla="*/ 8 h 46"/>
                <a:gd name="T2" fmla="*/ 11 w 51"/>
                <a:gd name="T3" fmla="*/ 13 h 46"/>
                <a:gd name="T4" fmla="*/ 31 w 51"/>
                <a:gd name="T5" fmla="*/ 18 h 46"/>
                <a:gd name="T6" fmla="*/ 51 w 51"/>
                <a:gd name="T7" fmla="*/ 31 h 46"/>
                <a:gd name="T8" fmla="*/ 27 w 51"/>
                <a:gd name="T9" fmla="*/ 46 h 46"/>
                <a:gd name="T10" fmla="*/ 0 w 51"/>
                <a:gd name="T11" fmla="*/ 38 h 46"/>
                <a:gd name="T12" fmla="*/ 5 w 51"/>
                <a:gd name="T13" fmla="*/ 32 h 46"/>
                <a:gd name="T14" fmla="*/ 26 w 51"/>
                <a:gd name="T15" fmla="*/ 38 h 46"/>
                <a:gd name="T16" fmla="*/ 42 w 51"/>
                <a:gd name="T17" fmla="*/ 32 h 46"/>
                <a:gd name="T18" fmla="*/ 37 w 51"/>
                <a:gd name="T19" fmla="*/ 27 h 46"/>
                <a:gd name="T20" fmla="*/ 17 w 51"/>
                <a:gd name="T21" fmla="*/ 25 h 46"/>
                <a:gd name="T22" fmla="*/ 2 w 51"/>
                <a:gd name="T23" fmla="*/ 14 h 46"/>
                <a:gd name="T24" fmla="*/ 25 w 51"/>
                <a:gd name="T25" fmla="*/ 0 h 46"/>
                <a:gd name="T26" fmla="*/ 48 w 51"/>
                <a:gd name="T27" fmla="*/ 7 h 46"/>
                <a:gd name="T28" fmla="*/ 43 w 51"/>
                <a:gd name="T29" fmla="*/ 12 h 46"/>
                <a:gd name="T30" fmla="*/ 25 w 51"/>
                <a:gd name="T31" fmla="*/ 8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1" h="46">
                  <a:moveTo>
                    <a:pt x="25" y="8"/>
                  </a:moveTo>
                  <a:cubicBezTo>
                    <a:pt x="15" y="8"/>
                    <a:pt x="11" y="10"/>
                    <a:pt x="11" y="13"/>
                  </a:cubicBezTo>
                  <a:cubicBezTo>
                    <a:pt x="11" y="18"/>
                    <a:pt x="18" y="17"/>
                    <a:pt x="31" y="18"/>
                  </a:cubicBezTo>
                  <a:cubicBezTo>
                    <a:pt x="44" y="19"/>
                    <a:pt x="51" y="23"/>
                    <a:pt x="51" y="31"/>
                  </a:cubicBezTo>
                  <a:cubicBezTo>
                    <a:pt x="51" y="40"/>
                    <a:pt x="42" y="46"/>
                    <a:pt x="27" y="46"/>
                  </a:cubicBezTo>
                  <a:cubicBezTo>
                    <a:pt x="15" y="46"/>
                    <a:pt x="7" y="43"/>
                    <a:pt x="0" y="38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10" y="36"/>
                    <a:pt x="18" y="38"/>
                    <a:pt x="26" y="38"/>
                  </a:cubicBezTo>
                  <a:cubicBezTo>
                    <a:pt x="36" y="38"/>
                    <a:pt x="42" y="36"/>
                    <a:pt x="42" y="32"/>
                  </a:cubicBezTo>
                  <a:cubicBezTo>
                    <a:pt x="42" y="29"/>
                    <a:pt x="40" y="28"/>
                    <a:pt x="37" y="27"/>
                  </a:cubicBezTo>
                  <a:cubicBezTo>
                    <a:pt x="32" y="25"/>
                    <a:pt x="25" y="26"/>
                    <a:pt x="17" y="25"/>
                  </a:cubicBezTo>
                  <a:cubicBezTo>
                    <a:pt x="7" y="24"/>
                    <a:pt x="2" y="21"/>
                    <a:pt x="2" y="14"/>
                  </a:cubicBezTo>
                  <a:cubicBezTo>
                    <a:pt x="2" y="6"/>
                    <a:pt x="10" y="0"/>
                    <a:pt x="25" y="0"/>
                  </a:cubicBezTo>
                  <a:cubicBezTo>
                    <a:pt x="34" y="0"/>
                    <a:pt x="42" y="3"/>
                    <a:pt x="48" y="7"/>
                  </a:cubicBezTo>
                  <a:cubicBezTo>
                    <a:pt x="43" y="12"/>
                    <a:pt x="43" y="12"/>
                    <a:pt x="43" y="12"/>
                  </a:cubicBezTo>
                  <a:cubicBezTo>
                    <a:pt x="37" y="9"/>
                    <a:pt x="32" y="8"/>
                    <a:pt x="25" y="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39" name="Freeform 24">
              <a:extLst>
                <a:ext uri="{FF2B5EF4-FFF2-40B4-BE49-F238E27FC236}">
                  <a16:creationId xmlns="" xmlns:a16="http://schemas.microsoft.com/office/drawing/2014/main" id="{10A0146D-13F9-4042-9268-548C9011A44A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9863" y="4549776"/>
              <a:ext cx="111125" cy="95250"/>
            </a:xfrm>
            <a:custGeom>
              <a:avLst/>
              <a:gdLst>
                <a:gd name="T0" fmla="*/ 25 w 50"/>
                <a:gd name="T1" fmla="*/ 44 h 44"/>
                <a:gd name="T2" fmla="*/ 0 w 50"/>
                <a:gd name="T3" fmla="*/ 28 h 44"/>
                <a:gd name="T4" fmla="*/ 0 w 50"/>
                <a:gd name="T5" fmla="*/ 0 h 44"/>
                <a:gd name="T6" fmla="*/ 8 w 50"/>
                <a:gd name="T7" fmla="*/ 0 h 44"/>
                <a:gd name="T8" fmla="*/ 8 w 50"/>
                <a:gd name="T9" fmla="*/ 27 h 44"/>
                <a:gd name="T10" fmla="*/ 25 w 50"/>
                <a:gd name="T11" fmla="*/ 36 h 44"/>
                <a:gd name="T12" fmla="*/ 41 w 50"/>
                <a:gd name="T13" fmla="*/ 27 h 44"/>
                <a:gd name="T14" fmla="*/ 41 w 50"/>
                <a:gd name="T15" fmla="*/ 0 h 44"/>
                <a:gd name="T16" fmla="*/ 50 w 50"/>
                <a:gd name="T17" fmla="*/ 0 h 44"/>
                <a:gd name="T18" fmla="*/ 50 w 50"/>
                <a:gd name="T19" fmla="*/ 28 h 44"/>
                <a:gd name="T20" fmla="*/ 25 w 50"/>
                <a:gd name="T21" fmla="*/ 44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" h="44">
                  <a:moveTo>
                    <a:pt x="25" y="44"/>
                  </a:moveTo>
                  <a:cubicBezTo>
                    <a:pt x="9" y="44"/>
                    <a:pt x="0" y="37"/>
                    <a:pt x="0" y="2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27"/>
                    <a:pt x="8" y="27"/>
                    <a:pt x="8" y="27"/>
                  </a:cubicBezTo>
                  <a:cubicBezTo>
                    <a:pt x="8" y="33"/>
                    <a:pt x="14" y="36"/>
                    <a:pt x="25" y="36"/>
                  </a:cubicBezTo>
                  <a:cubicBezTo>
                    <a:pt x="36" y="36"/>
                    <a:pt x="41" y="33"/>
                    <a:pt x="41" y="27"/>
                  </a:cubicBezTo>
                  <a:cubicBezTo>
                    <a:pt x="41" y="0"/>
                    <a:pt x="41" y="0"/>
                    <a:pt x="41" y="0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50" y="28"/>
                    <a:pt x="50" y="28"/>
                    <a:pt x="50" y="28"/>
                  </a:cubicBezTo>
                  <a:cubicBezTo>
                    <a:pt x="50" y="37"/>
                    <a:pt x="40" y="44"/>
                    <a:pt x="25" y="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0" name="Freeform 25">
              <a:extLst>
                <a:ext uri="{FF2B5EF4-FFF2-40B4-BE49-F238E27FC236}">
                  <a16:creationId xmlns="" xmlns:a16="http://schemas.microsoft.com/office/drawing/2014/main" id="{AF17E684-18D1-410D-801A-664E364C3CD8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1150" y="4549776"/>
              <a:ext cx="88900" cy="93663"/>
            </a:xfrm>
            <a:custGeom>
              <a:avLst/>
              <a:gdLst>
                <a:gd name="T0" fmla="*/ 0 w 56"/>
                <a:gd name="T1" fmla="*/ 59 h 59"/>
                <a:gd name="T2" fmla="*/ 0 w 56"/>
                <a:gd name="T3" fmla="*/ 0 h 59"/>
                <a:gd name="T4" fmla="*/ 11 w 56"/>
                <a:gd name="T5" fmla="*/ 0 h 59"/>
                <a:gd name="T6" fmla="*/ 11 w 56"/>
                <a:gd name="T7" fmla="*/ 48 h 59"/>
                <a:gd name="T8" fmla="*/ 56 w 56"/>
                <a:gd name="T9" fmla="*/ 48 h 59"/>
                <a:gd name="T10" fmla="*/ 56 w 56"/>
                <a:gd name="T11" fmla="*/ 59 h 59"/>
                <a:gd name="T12" fmla="*/ 0 w 56"/>
                <a:gd name="T13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6" h="59">
                  <a:moveTo>
                    <a:pt x="0" y="59"/>
                  </a:moveTo>
                  <a:lnTo>
                    <a:pt x="0" y="0"/>
                  </a:lnTo>
                  <a:lnTo>
                    <a:pt x="11" y="0"/>
                  </a:lnTo>
                  <a:lnTo>
                    <a:pt x="11" y="48"/>
                  </a:lnTo>
                  <a:lnTo>
                    <a:pt x="56" y="48"/>
                  </a:lnTo>
                  <a:lnTo>
                    <a:pt x="56" y="59"/>
                  </a:lnTo>
                  <a:lnTo>
                    <a:pt x="0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1" name="Freeform 26">
              <a:extLst>
                <a:ext uri="{FF2B5EF4-FFF2-40B4-BE49-F238E27FC236}">
                  <a16:creationId xmlns="" xmlns:a16="http://schemas.microsoft.com/office/drawing/2014/main" id="{6D456302-23A7-4F15-BDF7-CCEAAB210E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1000" y="4549776"/>
              <a:ext cx="109538" cy="93663"/>
            </a:xfrm>
            <a:custGeom>
              <a:avLst/>
              <a:gdLst>
                <a:gd name="T0" fmla="*/ 40 w 69"/>
                <a:gd name="T1" fmla="*/ 9 h 59"/>
                <a:gd name="T2" fmla="*/ 40 w 69"/>
                <a:gd name="T3" fmla="*/ 59 h 59"/>
                <a:gd name="T4" fmla="*/ 29 w 69"/>
                <a:gd name="T5" fmla="*/ 59 h 59"/>
                <a:gd name="T6" fmla="*/ 29 w 69"/>
                <a:gd name="T7" fmla="*/ 9 h 59"/>
                <a:gd name="T8" fmla="*/ 0 w 69"/>
                <a:gd name="T9" fmla="*/ 9 h 59"/>
                <a:gd name="T10" fmla="*/ 0 w 69"/>
                <a:gd name="T11" fmla="*/ 0 h 59"/>
                <a:gd name="T12" fmla="*/ 69 w 69"/>
                <a:gd name="T13" fmla="*/ 0 h 59"/>
                <a:gd name="T14" fmla="*/ 69 w 69"/>
                <a:gd name="T15" fmla="*/ 9 h 59"/>
                <a:gd name="T16" fmla="*/ 40 w 69"/>
                <a:gd name="T17" fmla="*/ 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9" h="59">
                  <a:moveTo>
                    <a:pt x="40" y="9"/>
                  </a:moveTo>
                  <a:lnTo>
                    <a:pt x="40" y="59"/>
                  </a:lnTo>
                  <a:lnTo>
                    <a:pt x="29" y="59"/>
                  </a:lnTo>
                  <a:lnTo>
                    <a:pt x="29" y="9"/>
                  </a:lnTo>
                  <a:lnTo>
                    <a:pt x="0" y="9"/>
                  </a:lnTo>
                  <a:lnTo>
                    <a:pt x="0" y="0"/>
                  </a:lnTo>
                  <a:lnTo>
                    <a:pt x="69" y="0"/>
                  </a:lnTo>
                  <a:lnTo>
                    <a:pt x="69" y="9"/>
                  </a:lnTo>
                  <a:lnTo>
                    <a:pt x="40" y="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2" name="Rectangle 27">
              <a:extLst>
                <a:ext uri="{FF2B5EF4-FFF2-40B4-BE49-F238E27FC236}">
                  <a16:creationId xmlns="" xmlns:a16="http://schemas.microsoft.com/office/drawing/2014/main" id="{BC483C4F-F023-4D3B-BFE8-AF1309B0E84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78000" y="4549776"/>
              <a:ext cx="20638" cy="9366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3" name="Freeform 28">
              <a:extLst>
                <a:ext uri="{FF2B5EF4-FFF2-40B4-BE49-F238E27FC236}">
                  <a16:creationId xmlns="" xmlns:a16="http://schemas.microsoft.com/office/drawing/2014/main" id="{AFF1A480-C844-41C4-90BE-0F7304A96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0" y="4549776"/>
              <a:ext cx="109538" cy="93663"/>
            </a:xfrm>
            <a:custGeom>
              <a:avLst/>
              <a:gdLst>
                <a:gd name="T0" fmla="*/ 52 w 69"/>
                <a:gd name="T1" fmla="*/ 59 h 59"/>
                <a:gd name="T2" fmla="*/ 12 w 69"/>
                <a:gd name="T3" fmla="*/ 9 h 59"/>
                <a:gd name="T4" fmla="*/ 12 w 69"/>
                <a:gd name="T5" fmla="*/ 59 h 59"/>
                <a:gd name="T6" fmla="*/ 0 w 69"/>
                <a:gd name="T7" fmla="*/ 59 h 59"/>
                <a:gd name="T8" fmla="*/ 0 w 69"/>
                <a:gd name="T9" fmla="*/ 0 h 59"/>
                <a:gd name="T10" fmla="*/ 18 w 69"/>
                <a:gd name="T11" fmla="*/ 0 h 59"/>
                <a:gd name="T12" fmla="*/ 58 w 69"/>
                <a:gd name="T13" fmla="*/ 48 h 59"/>
                <a:gd name="T14" fmla="*/ 58 w 69"/>
                <a:gd name="T15" fmla="*/ 0 h 59"/>
                <a:gd name="T16" fmla="*/ 69 w 69"/>
                <a:gd name="T17" fmla="*/ 0 h 59"/>
                <a:gd name="T18" fmla="*/ 69 w 69"/>
                <a:gd name="T19" fmla="*/ 59 h 59"/>
                <a:gd name="T20" fmla="*/ 52 w 69"/>
                <a:gd name="T21" fmla="*/ 59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9" h="59">
                  <a:moveTo>
                    <a:pt x="52" y="59"/>
                  </a:moveTo>
                  <a:lnTo>
                    <a:pt x="12" y="9"/>
                  </a:lnTo>
                  <a:lnTo>
                    <a:pt x="12" y="59"/>
                  </a:lnTo>
                  <a:lnTo>
                    <a:pt x="0" y="59"/>
                  </a:lnTo>
                  <a:lnTo>
                    <a:pt x="0" y="0"/>
                  </a:lnTo>
                  <a:lnTo>
                    <a:pt x="18" y="0"/>
                  </a:lnTo>
                  <a:lnTo>
                    <a:pt x="58" y="48"/>
                  </a:lnTo>
                  <a:lnTo>
                    <a:pt x="58" y="0"/>
                  </a:lnTo>
                  <a:lnTo>
                    <a:pt x="69" y="0"/>
                  </a:lnTo>
                  <a:lnTo>
                    <a:pt x="69" y="59"/>
                  </a:lnTo>
                  <a:lnTo>
                    <a:pt x="52" y="5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4" name="Freeform 29">
              <a:extLst>
                <a:ext uri="{FF2B5EF4-FFF2-40B4-BE49-F238E27FC236}">
                  <a16:creationId xmlns="" xmlns:a16="http://schemas.microsoft.com/office/drawing/2014/main" id="{519C637B-DE4D-46ED-9F71-3D96C0721BAC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5325" y="4545014"/>
              <a:ext cx="123825" cy="100013"/>
            </a:xfrm>
            <a:custGeom>
              <a:avLst/>
              <a:gdLst>
                <a:gd name="T0" fmla="*/ 57 w 57"/>
                <a:gd name="T1" fmla="*/ 22 h 46"/>
                <a:gd name="T2" fmla="*/ 29 w 57"/>
                <a:gd name="T3" fmla="*/ 46 h 46"/>
                <a:gd name="T4" fmla="*/ 9 w 57"/>
                <a:gd name="T5" fmla="*/ 40 h 46"/>
                <a:gd name="T6" fmla="*/ 0 w 57"/>
                <a:gd name="T7" fmla="*/ 23 h 46"/>
                <a:gd name="T8" fmla="*/ 9 w 57"/>
                <a:gd name="T9" fmla="*/ 6 h 46"/>
                <a:gd name="T10" fmla="*/ 29 w 57"/>
                <a:gd name="T11" fmla="*/ 0 h 46"/>
                <a:gd name="T12" fmla="*/ 53 w 57"/>
                <a:gd name="T13" fmla="*/ 10 h 46"/>
                <a:gd name="T14" fmla="*/ 45 w 57"/>
                <a:gd name="T15" fmla="*/ 14 h 46"/>
                <a:gd name="T16" fmla="*/ 29 w 57"/>
                <a:gd name="T17" fmla="*/ 8 h 46"/>
                <a:gd name="T18" fmla="*/ 9 w 57"/>
                <a:gd name="T19" fmla="*/ 23 h 46"/>
                <a:gd name="T20" fmla="*/ 29 w 57"/>
                <a:gd name="T21" fmla="*/ 38 h 46"/>
                <a:gd name="T22" fmla="*/ 46 w 57"/>
                <a:gd name="T23" fmla="*/ 29 h 46"/>
                <a:gd name="T24" fmla="*/ 27 w 57"/>
                <a:gd name="T25" fmla="*/ 29 h 46"/>
                <a:gd name="T26" fmla="*/ 27 w 57"/>
                <a:gd name="T27" fmla="*/ 21 h 46"/>
                <a:gd name="T28" fmla="*/ 57 w 57"/>
                <a:gd name="T29" fmla="*/ 21 h 46"/>
                <a:gd name="T30" fmla="*/ 57 w 57"/>
                <a:gd name="T31" fmla="*/ 22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7" h="46">
                  <a:moveTo>
                    <a:pt x="57" y="22"/>
                  </a:moveTo>
                  <a:cubicBezTo>
                    <a:pt x="57" y="36"/>
                    <a:pt x="46" y="46"/>
                    <a:pt x="29" y="46"/>
                  </a:cubicBezTo>
                  <a:cubicBezTo>
                    <a:pt x="21" y="46"/>
                    <a:pt x="14" y="44"/>
                    <a:pt x="9" y="40"/>
                  </a:cubicBezTo>
                  <a:cubicBezTo>
                    <a:pt x="3" y="36"/>
                    <a:pt x="0" y="30"/>
                    <a:pt x="0" y="23"/>
                  </a:cubicBezTo>
                  <a:cubicBezTo>
                    <a:pt x="0" y="16"/>
                    <a:pt x="3" y="10"/>
                    <a:pt x="9" y="6"/>
                  </a:cubicBezTo>
                  <a:cubicBezTo>
                    <a:pt x="14" y="2"/>
                    <a:pt x="21" y="0"/>
                    <a:pt x="29" y="0"/>
                  </a:cubicBezTo>
                  <a:cubicBezTo>
                    <a:pt x="39" y="0"/>
                    <a:pt x="46" y="3"/>
                    <a:pt x="53" y="10"/>
                  </a:cubicBezTo>
                  <a:cubicBezTo>
                    <a:pt x="45" y="14"/>
                    <a:pt x="45" y="14"/>
                    <a:pt x="45" y="14"/>
                  </a:cubicBezTo>
                  <a:cubicBezTo>
                    <a:pt x="40" y="10"/>
                    <a:pt x="35" y="8"/>
                    <a:pt x="29" y="8"/>
                  </a:cubicBezTo>
                  <a:cubicBezTo>
                    <a:pt x="17" y="8"/>
                    <a:pt x="9" y="14"/>
                    <a:pt x="9" y="23"/>
                  </a:cubicBezTo>
                  <a:cubicBezTo>
                    <a:pt x="9" y="32"/>
                    <a:pt x="17" y="38"/>
                    <a:pt x="29" y="38"/>
                  </a:cubicBezTo>
                  <a:cubicBezTo>
                    <a:pt x="37" y="38"/>
                    <a:pt x="43" y="35"/>
                    <a:pt x="46" y="29"/>
                  </a:cubicBezTo>
                  <a:cubicBezTo>
                    <a:pt x="27" y="29"/>
                    <a:pt x="27" y="29"/>
                    <a:pt x="27" y="29"/>
                  </a:cubicBezTo>
                  <a:cubicBezTo>
                    <a:pt x="27" y="21"/>
                    <a:pt x="27" y="21"/>
                    <a:pt x="27" y="21"/>
                  </a:cubicBezTo>
                  <a:cubicBezTo>
                    <a:pt x="57" y="21"/>
                    <a:pt x="57" y="21"/>
                    <a:pt x="57" y="21"/>
                  </a:cubicBezTo>
                  <a:lnTo>
                    <a:pt x="57" y="2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5" name="Freeform 30">
              <a:extLst>
                <a:ext uri="{FF2B5EF4-FFF2-40B4-BE49-F238E27FC236}">
                  <a16:creationId xmlns="" xmlns:a16="http://schemas.microsoft.com/office/drawing/2014/main" id="{591C63BC-64EF-4BCB-8F00-4BA7CD437E2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938" y="3911601"/>
              <a:ext cx="574675" cy="514350"/>
            </a:xfrm>
            <a:custGeom>
              <a:avLst/>
              <a:gdLst>
                <a:gd name="T0" fmla="*/ 262 w 262"/>
                <a:gd name="T1" fmla="*/ 72 h 234"/>
                <a:gd name="T2" fmla="*/ 177 w 262"/>
                <a:gd name="T3" fmla="*/ 142 h 234"/>
                <a:gd name="T4" fmla="*/ 53 w 262"/>
                <a:gd name="T5" fmla="*/ 142 h 234"/>
                <a:gd name="T6" fmla="*/ 53 w 262"/>
                <a:gd name="T7" fmla="*/ 234 h 234"/>
                <a:gd name="T8" fmla="*/ 0 w 262"/>
                <a:gd name="T9" fmla="*/ 234 h 234"/>
                <a:gd name="T10" fmla="*/ 0 w 262"/>
                <a:gd name="T11" fmla="*/ 0 h 234"/>
                <a:gd name="T12" fmla="*/ 180 w 262"/>
                <a:gd name="T13" fmla="*/ 0 h 234"/>
                <a:gd name="T14" fmla="*/ 262 w 262"/>
                <a:gd name="T15" fmla="*/ 72 h 234"/>
                <a:gd name="T16" fmla="*/ 210 w 262"/>
                <a:gd name="T17" fmla="*/ 72 h 234"/>
                <a:gd name="T18" fmla="*/ 174 w 262"/>
                <a:gd name="T19" fmla="*/ 43 h 234"/>
                <a:gd name="T20" fmla="*/ 53 w 262"/>
                <a:gd name="T21" fmla="*/ 43 h 234"/>
                <a:gd name="T22" fmla="*/ 53 w 262"/>
                <a:gd name="T23" fmla="*/ 100 h 234"/>
                <a:gd name="T24" fmla="*/ 174 w 262"/>
                <a:gd name="T25" fmla="*/ 100 h 234"/>
                <a:gd name="T26" fmla="*/ 210 w 262"/>
                <a:gd name="T27" fmla="*/ 7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2" h="234">
                  <a:moveTo>
                    <a:pt x="262" y="72"/>
                  </a:moveTo>
                  <a:cubicBezTo>
                    <a:pt x="262" y="118"/>
                    <a:pt x="233" y="142"/>
                    <a:pt x="177" y="142"/>
                  </a:cubicBezTo>
                  <a:cubicBezTo>
                    <a:pt x="53" y="142"/>
                    <a:pt x="53" y="142"/>
                    <a:pt x="53" y="142"/>
                  </a:cubicBezTo>
                  <a:cubicBezTo>
                    <a:pt x="53" y="234"/>
                    <a:pt x="53" y="234"/>
                    <a:pt x="53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230" y="0"/>
                    <a:pt x="262" y="30"/>
                    <a:pt x="262" y="72"/>
                  </a:cubicBezTo>
                  <a:close/>
                  <a:moveTo>
                    <a:pt x="210" y="72"/>
                  </a:moveTo>
                  <a:cubicBezTo>
                    <a:pt x="210" y="53"/>
                    <a:pt x="197" y="43"/>
                    <a:pt x="174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196" y="100"/>
                    <a:pt x="210" y="89"/>
                    <a:pt x="210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6" name="Freeform 31">
              <a:extLst>
                <a:ext uri="{FF2B5EF4-FFF2-40B4-BE49-F238E27FC236}">
                  <a16:creationId xmlns="" xmlns:a16="http://schemas.microsoft.com/office/drawing/2014/main" id="{EF95FACF-DE1C-45E5-9A05-69A00B94909A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438" y="3911601"/>
              <a:ext cx="696913" cy="514350"/>
            </a:xfrm>
            <a:custGeom>
              <a:avLst/>
              <a:gdLst>
                <a:gd name="T0" fmla="*/ 364 w 439"/>
                <a:gd name="T1" fmla="*/ 324 h 324"/>
                <a:gd name="T2" fmla="*/ 364 w 439"/>
                <a:gd name="T3" fmla="*/ 89 h 324"/>
                <a:gd name="T4" fmla="*/ 363 w 439"/>
                <a:gd name="T5" fmla="*/ 89 h 324"/>
                <a:gd name="T6" fmla="*/ 219 w 439"/>
                <a:gd name="T7" fmla="*/ 263 h 324"/>
                <a:gd name="T8" fmla="*/ 74 w 439"/>
                <a:gd name="T9" fmla="*/ 89 h 324"/>
                <a:gd name="T10" fmla="*/ 73 w 439"/>
                <a:gd name="T11" fmla="*/ 89 h 324"/>
                <a:gd name="T12" fmla="*/ 73 w 439"/>
                <a:gd name="T13" fmla="*/ 324 h 324"/>
                <a:gd name="T14" fmla="*/ 0 w 439"/>
                <a:gd name="T15" fmla="*/ 324 h 324"/>
                <a:gd name="T16" fmla="*/ 0 w 439"/>
                <a:gd name="T17" fmla="*/ 0 h 324"/>
                <a:gd name="T18" fmla="*/ 85 w 439"/>
                <a:gd name="T19" fmla="*/ 0 h 324"/>
                <a:gd name="T20" fmla="*/ 219 w 439"/>
                <a:gd name="T21" fmla="*/ 162 h 324"/>
                <a:gd name="T22" fmla="*/ 352 w 439"/>
                <a:gd name="T23" fmla="*/ 0 h 324"/>
                <a:gd name="T24" fmla="*/ 439 w 439"/>
                <a:gd name="T25" fmla="*/ 0 h 324"/>
                <a:gd name="T26" fmla="*/ 439 w 439"/>
                <a:gd name="T27" fmla="*/ 324 h 324"/>
                <a:gd name="T28" fmla="*/ 364 w 439"/>
                <a:gd name="T29" fmla="*/ 324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39" h="324">
                  <a:moveTo>
                    <a:pt x="364" y="324"/>
                  </a:moveTo>
                  <a:lnTo>
                    <a:pt x="364" y="89"/>
                  </a:lnTo>
                  <a:lnTo>
                    <a:pt x="363" y="89"/>
                  </a:lnTo>
                  <a:lnTo>
                    <a:pt x="219" y="263"/>
                  </a:lnTo>
                  <a:lnTo>
                    <a:pt x="74" y="89"/>
                  </a:lnTo>
                  <a:lnTo>
                    <a:pt x="73" y="89"/>
                  </a:lnTo>
                  <a:lnTo>
                    <a:pt x="73" y="324"/>
                  </a:lnTo>
                  <a:lnTo>
                    <a:pt x="0" y="324"/>
                  </a:lnTo>
                  <a:lnTo>
                    <a:pt x="0" y="0"/>
                  </a:lnTo>
                  <a:lnTo>
                    <a:pt x="85" y="0"/>
                  </a:lnTo>
                  <a:lnTo>
                    <a:pt x="219" y="162"/>
                  </a:lnTo>
                  <a:lnTo>
                    <a:pt x="352" y="0"/>
                  </a:lnTo>
                  <a:lnTo>
                    <a:pt x="439" y="0"/>
                  </a:lnTo>
                  <a:lnTo>
                    <a:pt x="439" y="324"/>
                  </a:lnTo>
                  <a:lnTo>
                    <a:pt x="364" y="32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7" name="Freeform 32">
              <a:extLst>
                <a:ext uri="{FF2B5EF4-FFF2-40B4-BE49-F238E27FC236}">
                  <a16:creationId xmlns="" xmlns:a16="http://schemas.microsoft.com/office/drawing/2014/main" id="{A134A8F0-D522-43C7-B091-8F1B74BDA9E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19238" y="3911601"/>
              <a:ext cx="576263" cy="514350"/>
            </a:xfrm>
            <a:custGeom>
              <a:avLst/>
              <a:gdLst>
                <a:gd name="T0" fmla="*/ 263 w 263"/>
                <a:gd name="T1" fmla="*/ 72 h 234"/>
                <a:gd name="T2" fmla="*/ 178 w 263"/>
                <a:gd name="T3" fmla="*/ 142 h 234"/>
                <a:gd name="T4" fmla="*/ 53 w 263"/>
                <a:gd name="T5" fmla="*/ 142 h 234"/>
                <a:gd name="T6" fmla="*/ 53 w 263"/>
                <a:gd name="T7" fmla="*/ 234 h 234"/>
                <a:gd name="T8" fmla="*/ 0 w 263"/>
                <a:gd name="T9" fmla="*/ 234 h 234"/>
                <a:gd name="T10" fmla="*/ 0 w 263"/>
                <a:gd name="T11" fmla="*/ 0 h 234"/>
                <a:gd name="T12" fmla="*/ 180 w 263"/>
                <a:gd name="T13" fmla="*/ 0 h 234"/>
                <a:gd name="T14" fmla="*/ 263 w 263"/>
                <a:gd name="T15" fmla="*/ 72 h 234"/>
                <a:gd name="T16" fmla="*/ 210 w 263"/>
                <a:gd name="T17" fmla="*/ 72 h 234"/>
                <a:gd name="T18" fmla="*/ 174 w 263"/>
                <a:gd name="T19" fmla="*/ 43 h 234"/>
                <a:gd name="T20" fmla="*/ 53 w 263"/>
                <a:gd name="T21" fmla="*/ 43 h 234"/>
                <a:gd name="T22" fmla="*/ 53 w 263"/>
                <a:gd name="T23" fmla="*/ 100 h 234"/>
                <a:gd name="T24" fmla="*/ 174 w 263"/>
                <a:gd name="T25" fmla="*/ 100 h 234"/>
                <a:gd name="T26" fmla="*/ 210 w 263"/>
                <a:gd name="T27" fmla="*/ 72 h 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63" h="234">
                  <a:moveTo>
                    <a:pt x="263" y="72"/>
                  </a:moveTo>
                  <a:cubicBezTo>
                    <a:pt x="263" y="118"/>
                    <a:pt x="234" y="142"/>
                    <a:pt x="178" y="142"/>
                  </a:cubicBezTo>
                  <a:cubicBezTo>
                    <a:pt x="53" y="142"/>
                    <a:pt x="53" y="142"/>
                    <a:pt x="53" y="142"/>
                  </a:cubicBezTo>
                  <a:cubicBezTo>
                    <a:pt x="53" y="234"/>
                    <a:pt x="53" y="234"/>
                    <a:pt x="53" y="234"/>
                  </a:cubicBezTo>
                  <a:cubicBezTo>
                    <a:pt x="0" y="234"/>
                    <a:pt x="0" y="234"/>
                    <a:pt x="0" y="234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80" y="0"/>
                    <a:pt x="180" y="0"/>
                    <a:pt x="180" y="0"/>
                  </a:cubicBezTo>
                  <a:cubicBezTo>
                    <a:pt x="230" y="0"/>
                    <a:pt x="263" y="30"/>
                    <a:pt x="263" y="72"/>
                  </a:cubicBezTo>
                  <a:close/>
                  <a:moveTo>
                    <a:pt x="210" y="72"/>
                  </a:moveTo>
                  <a:cubicBezTo>
                    <a:pt x="210" y="53"/>
                    <a:pt x="197" y="43"/>
                    <a:pt x="174" y="43"/>
                  </a:cubicBezTo>
                  <a:cubicBezTo>
                    <a:pt x="53" y="43"/>
                    <a:pt x="53" y="43"/>
                    <a:pt x="53" y="43"/>
                  </a:cubicBezTo>
                  <a:cubicBezTo>
                    <a:pt x="53" y="100"/>
                    <a:pt x="53" y="100"/>
                    <a:pt x="53" y="100"/>
                  </a:cubicBezTo>
                  <a:cubicBezTo>
                    <a:pt x="174" y="100"/>
                    <a:pt x="174" y="100"/>
                    <a:pt x="174" y="100"/>
                  </a:cubicBezTo>
                  <a:cubicBezTo>
                    <a:pt x="197" y="100"/>
                    <a:pt x="210" y="89"/>
                    <a:pt x="210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</p:grpSp>
      <p:sp>
        <p:nvSpPr>
          <p:cNvPr id="48" name="Espace réservé du texte 2">
            <a:extLst>
              <a:ext uri="{FF2B5EF4-FFF2-40B4-BE49-F238E27FC236}">
                <a16:creationId xmlns="" xmlns:a16="http://schemas.microsoft.com/office/drawing/2014/main" id="{E094E4C0-5BF8-4F2C-95FB-FDA5E8DCF38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52411" y="3419699"/>
            <a:ext cx="2112000" cy="287259"/>
          </a:xfrm>
        </p:spPr>
        <p:txBody>
          <a:bodyPr lIns="36000" rIns="36000" anchor="ctr">
            <a:spAutoFit/>
          </a:bodyPr>
          <a:lstStyle>
            <a:lvl1pPr>
              <a:spcBef>
                <a:spcPts val="0"/>
              </a:spcBef>
              <a:defRPr lang="fr-FR" sz="1867" b="0" i="0" kern="1200" dirty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fr-FR" dirty="0"/>
              <a:t>Surtitre</a:t>
            </a:r>
          </a:p>
        </p:txBody>
      </p:sp>
      <p:sp>
        <p:nvSpPr>
          <p:cNvPr id="51" name="Espace réservé du texte 2">
            <a:extLst>
              <a:ext uri="{FF2B5EF4-FFF2-40B4-BE49-F238E27FC236}">
                <a16:creationId xmlns="" xmlns:a16="http://schemas.microsoft.com/office/drawing/2014/main" id="{DF1524A0-469A-4FFD-8C09-2D4C2EC3BF1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75787" y="4437112"/>
            <a:ext cx="4320480" cy="287259"/>
          </a:xfrm>
        </p:spPr>
        <p:txBody>
          <a:bodyPr wrap="square" lIns="36000" rIns="36000" anchor="t">
            <a:spAutoFit/>
          </a:bodyPr>
          <a:lstStyle>
            <a:lvl1pPr>
              <a:spcBef>
                <a:spcPts val="0"/>
              </a:spcBef>
              <a:defRPr lang="fr-FR" sz="1867" b="0" i="0" kern="1200" dirty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lvl1pPr>
          </a:lstStyle>
          <a:p>
            <a:pPr lvl="0"/>
            <a:r>
              <a:rPr lang="fr-FR" dirty="0"/>
              <a:t>Sous-titre, autres informations...</a:t>
            </a:r>
          </a:p>
        </p:txBody>
      </p:sp>
    </p:spTree>
    <p:extLst>
      <p:ext uri="{BB962C8B-B14F-4D97-AF65-F5344CB8AC3E}">
        <p14:creationId xmlns:p14="http://schemas.microsoft.com/office/powerpoint/2010/main" val="4057855190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34" Type="http://schemas.openxmlformats.org/officeDocument/2006/relationships/slideLayout" Target="../slideLayouts/slideLayout42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slideLayout" Target="../slideLayouts/slideLayout41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slideLayout" Target="../slideLayouts/slideLayout40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Relationship Id="rId35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.xml"/><Relationship Id="rId3" Type="http://schemas.openxmlformats.org/officeDocument/2006/relationships/slideLayout" Target="../slideLayouts/slideLayout45.xml"/><Relationship Id="rId7" Type="http://schemas.openxmlformats.org/officeDocument/2006/relationships/slideLayout" Target="../slideLayouts/slideLayout49.xml"/><Relationship Id="rId2" Type="http://schemas.openxmlformats.org/officeDocument/2006/relationships/slideLayout" Target="../slideLayouts/slideLayout44.xml"/><Relationship Id="rId1" Type="http://schemas.openxmlformats.org/officeDocument/2006/relationships/slideLayout" Target="../slideLayouts/slideLayout43.xml"/><Relationship Id="rId6" Type="http://schemas.openxmlformats.org/officeDocument/2006/relationships/slideLayout" Target="../slideLayouts/slideLayout48.xml"/><Relationship Id="rId11" Type="http://schemas.openxmlformats.org/officeDocument/2006/relationships/image" Target="../media/image2.emf"/><Relationship Id="rId5" Type="http://schemas.openxmlformats.org/officeDocument/2006/relationships/slideLayout" Target="../slideLayouts/slideLayout47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46.xml"/><Relationship Id="rId9" Type="http://schemas.openxmlformats.org/officeDocument/2006/relationships/slideLayout" Target="../slideLayouts/slideLayout5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54.xml"/><Relationship Id="rId7" Type="http://schemas.openxmlformats.org/officeDocument/2006/relationships/slideLayout" Target="../slideLayouts/slideLayout58.xml"/><Relationship Id="rId2" Type="http://schemas.openxmlformats.org/officeDocument/2006/relationships/slideLayout" Target="../slideLayouts/slideLayout53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6.xml"/><Relationship Id="rId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2" Type="http://schemas.openxmlformats.org/officeDocument/2006/relationships/slideLayout" Target="../slideLayouts/slideLayout60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5" Type="http://schemas.openxmlformats.org/officeDocument/2006/relationships/slideLayout" Target="../slideLayouts/slideLayout63.xml"/><Relationship Id="rId4" Type="http://schemas.openxmlformats.org/officeDocument/2006/relationships/slideLayout" Target="../slideLayouts/slideLayout6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/>
              <a:t>Présanse</a:t>
            </a:r>
            <a:r>
              <a:rPr lang="fr-FR" dirty="0" smtClean="0"/>
              <a:t> </a:t>
            </a:r>
            <a:r>
              <a:rPr lang="mr-IN" dirty="0" smtClean="0"/>
              <a:t>–</a:t>
            </a:r>
            <a:r>
              <a:rPr lang="fr-FR" dirty="0" smtClean="0"/>
              <a:t> Masque Powerpoint / JJ.MM.AAAA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/>
              <a:pPr/>
              <a:t>‹N°›</a:t>
            </a:fld>
            <a:endParaRPr lang="fr-FR" dirty="0"/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775425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576512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61" r:id="rId2"/>
    <p:sldLayoutId id="2147483685" r:id="rId3"/>
    <p:sldLayoutId id="2147483691" r:id="rId4"/>
    <p:sldLayoutId id="2147483663" r:id="rId5"/>
    <p:sldLayoutId id="2147483664" r:id="rId6"/>
    <p:sldLayoutId id="2147483687" r:id="rId7"/>
    <p:sldLayoutId id="2147483765" r:id="rId8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élai  3">
            <a:extLst>
              <a:ext uri="{FF2B5EF4-FFF2-40B4-BE49-F238E27FC236}">
                <a16:creationId xmlns="" xmlns:a16="http://schemas.microsoft.com/office/drawing/2014/main" id="{B95EE9D3-0609-5A4A-AE08-93F2C0FF468C}"/>
              </a:ext>
            </a:extLst>
          </p:cNvPr>
          <p:cNvSpPr/>
          <p:nvPr/>
        </p:nvSpPr>
        <p:spPr>
          <a:xfrm rot="16200000">
            <a:off x="202455" y="6426096"/>
            <a:ext cx="551692" cy="318141"/>
          </a:xfrm>
          <a:custGeom>
            <a:avLst/>
            <a:gdLst>
              <a:gd name="connsiteX0" fmla="*/ 0 w 612648"/>
              <a:gd name="connsiteY0" fmla="*/ 0 h 612648"/>
              <a:gd name="connsiteX1" fmla="*/ 306324 w 612648"/>
              <a:gd name="connsiteY1" fmla="*/ 0 h 612648"/>
              <a:gd name="connsiteX2" fmla="*/ 612648 w 612648"/>
              <a:gd name="connsiteY2" fmla="*/ 306324 h 612648"/>
              <a:gd name="connsiteX3" fmla="*/ 306324 w 612648"/>
              <a:gd name="connsiteY3" fmla="*/ 612648 h 612648"/>
              <a:gd name="connsiteX4" fmla="*/ 0 w 612648"/>
              <a:gd name="connsiteY4" fmla="*/ 612648 h 612648"/>
              <a:gd name="connsiteX5" fmla="*/ 0 w 612648"/>
              <a:gd name="connsiteY5" fmla="*/ 0 h 612648"/>
              <a:gd name="connsiteX0" fmla="*/ 347870 w 960518"/>
              <a:gd name="connsiteY0" fmla="*/ 0 h 612648"/>
              <a:gd name="connsiteX1" fmla="*/ 654194 w 960518"/>
              <a:gd name="connsiteY1" fmla="*/ 0 h 612648"/>
              <a:gd name="connsiteX2" fmla="*/ 960518 w 960518"/>
              <a:gd name="connsiteY2" fmla="*/ 306324 h 612648"/>
              <a:gd name="connsiteX3" fmla="*/ 654194 w 960518"/>
              <a:gd name="connsiteY3" fmla="*/ 612648 h 612648"/>
              <a:gd name="connsiteX4" fmla="*/ 0 w 960518"/>
              <a:gd name="connsiteY4" fmla="*/ 602709 h 612648"/>
              <a:gd name="connsiteX5" fmla="*/ 347870 w 960518"/>
              <a:gd name="connsiteY5" fmla="*/ 0 h 612648"/>
              <a:gd name="connsiteX0" fmla="*/ 0 w 970456"/>
              <a:gd name="connsiteY0" fmla="*/ 0 h 612648"/>
              <a:gd name="connsiteX1" fmla="*/ 664132 w 970456"/>
              <a:gd name="connsiteY1" fmla="*/ 0 h 612648"/>
              <a:gd name="connsiteX2" fmla="*/ 970456 w 970456"/>
              <a:gd name="connsiteY2" fmla="*/ 306324 h 612648"/>
              <a:gd name="connsiteX3" fmla="*/ 664132 w 970456"/>
              <a:gd name="connsiteY3" fmla="*/ 612648 h 612648"/>
              <a:gd name="connsiteX4" fmla="*/ 9938 w 970456"/>
              <a:gd name="connsiteY4" fmla="*/ 602709 h 612648"/>
              <a:gd name="connsiteX5" fmla="*/ 0 w 970456"/>
              <a:gd name="connsiteY5" fmla="*/ 0 h 612648"/>
              <a:gd name="connsiteX0" fmla="*/ 523003 w 1493459"/>
              <a:gd name="connsiteY0" fmla="*/ 0 h 622448"/>
              <a:gd name="connsiteX1" fmla="*/ 1187135 w 1493459"/>
              <a:gd name="connsiteY1" fmla="*/ 0 h 622448"/>
              <a:gd name="connsiteX2" fmla="*/ 1493459 w 1493459"/>
              <a:gd name="connsiteY2" fmla="*/ 306324 h 622448"/>
              <a:gd name="connsiteX3" fmla="*/ 1187135 w 1493459"/>
              <a:gd name="connsiteY3" fmla="*/ 612648 h 622448"/>
              <a:gd name="connsiteX4" fmla="*/ 0 w 1493459"/>
              <a:gd name="connsiteY4" fmla="*/ 622448 h 622448"/>
              <a:gd name="connsiteX5" fmla="*/ 523003 w 1493459"/>
              <a:gd name="connsiteY5" fmla="*/ 0 h 622448"/>
              <a:gd name="connsiteX0" fmla="*/ 0 w 1493527"/>
              <a:gd name="connsiteY0" fmla="*/ 0 h 622448"/>
              <a:gd name="connsiteX1" fmla="*/ 1187203 w 1493527"/>
              <a:gd name="connsiteY1" fmla="*/ 0 h 622448"/>
              <a:gd name="connsiteX2" fmla="*/ 1493527 w 1493527"/>
              <a:gd name="connsiteY2" fmla="*/ 306324 h 622448"/>
              <a:gd name="connsiteX3" fmla="*/ 1187203 w 1493527"/>
              <a:gd name="connsiteY3" fmla="*/ 612648 h 622448"/>
              <a:gd name="connsiteX4" fmla="*/ 68 w 1493527"/>
              <a:gd name="connsiteY4" fmla="*/ 622448 h 622448"/>
              <a:gd name="connsiteX5" fmla="*/ 0 w 1493527"/>
              <a:gd name="connsiteY5" fmla="*/ 0 h 622448"/>
              <a:gd name="connsiteX0" fmla="*/ 414062 w 1493459"/>
              <a:gd name="connsiteY0" fmla="*/ -1 h 630723"/>
              <a:gd name="connsiteX1" fmla="*/ 1187135 w 1493459"/>
              <a:gd name="connsiteY1" fmla="*/ 8275 h 630723"/>
              <a:gd name="connsiteX2" fmla="*/ 1493459 w 1493459"/>
              <a:gd name="connsiteY2" fmla="*/ 314599 h 630723"/>
              <a:gd name="connsiteX3" fmla="*/ 1187135 w 1493459"/>
              <a:gd name="connsiteY3" fmla="*/ 620923 h 630723"/>
              <a:gd name="connsiteX4" fmla="*/ 0 w 1493459"/>
              <a:gd name="connsiteY4" fmla="*/ 630723 h 630723"/>
              <a:gd name="connsiteX5" fmla="*/ 414062 w 1493459"/>
              <a:gd name="connsiteY5" fmla="*/ -1 h 630723"/>
              <a:gd name="connsiteX0" fmla="*/ 8216 w 1087613"/>
              <a:gd name="connsiteY0" fmla="*/ -1 h 639011"/>
              <a:gd name="connsiteX1" fmla="*/ 781289 w 1087613"/>
              <a:gd name="connsiteY1" fmla="*/ 8275 h 639011"/>
              <a:gd name="connsiteX2" fmla="*/ 1087613 w 1087613"/>
              <a:gd name="connsiteY2" fmla="*/ 314599 h 639011"/>
              <a:gd name="connsiteX3" fmla="*/ 781289 w 1087613"/>
              <a:gd name="connsiteY3" fmla="*/ 620923 h 639011"/>
              <a:gd name="connsiteX4" fmla="*/ 1 w 1087613"/>
              <a:gd name="connsiteY4" fmla="*/ 639012 h 639011"/>
              <a:gd name="connsiteX5" fmla="*/ 8216 w 1087613"/>
              <a:gd name="connsiteY5" fmla="*/ -1 h 639011"/>
              <a:gd name="connsiteX0" fmla="*/ 1 w 1079398"/>
              <a:gd name="connsiteY0" fmla="*/ -1 h 639011"/>
              <a:gd name="connsiteX1" fmla="*/ 773074 w 1079398"/>
              <a:gd name="connsiteY1" fmla="*/ 8275 h 639011"/>
              <a:gd name="connsiteX2" fmla="*/ 1079398 w 1079398"/>
              <a:gd name="connsiteY2" fmla="*/ 314599 h 639011"/>
              <a:gd name="connsiteX3" fmla="*/ 773074 w 1079398"/>
              <a:gd name="connsiteY3" fmla="*/ 620923 h 639011"/>
              <a:gd name="connsiteX4" fmla="*/ 68 w 1079398"/>
              <a:gd name="connsiteY4" fmla="*/ 639011 h 639011"/>
              <a:gd name="connsiteX5" fmla="*/ 1 w 1079398"/>
              <a:gd name="connsiteY5" fmla="*/ -1 h 639011"/>
              <a:gd name="connsiteX0" fmla="*/ 1 w 1079398"/>
              <a:gd name="connsiteY0" fmla="*/ -1 h 622451"/>
              <a:gd name="connsiteX1" fmla="*/ 773074 w 1079398"/>
              <a:gd name="connsiteY1" fmla="*/ 8275 h 622451"/>
              <a:gd name="connsiteX2" fmla="*/ 1079398 w 1079398"/>
              <a:gd name="connsiteY2" fmla="*/ 314599 h 622451"/>
              <a:gd name="connsiteX3" fmla="*/ 773074 w 1079398"/>
              <a:gd name="connsiteY3" fmla="*/ 620923 h 622451"/>
              <a:gd name="connsiteX4" fmla="*/ 67 w 1079398"/>
              <a:gd name="connsiteY4" fmla="*/ 622452 h 622451"/>
              <a:gd name="connsiteX5" fmla="*/ 1 w 1079398"/>
              <a:gd name="connsiteY5" fmla="*/ -1 h 622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79398" h="622451">
                <a:moveTo>
                  <a:pt x="1" y="-1"/>
                </a:moveTo>
                <a:cubicBezTo>
                  <a:pt x="395735" y="-1"/>
                  <a:pt x="377340" y="8275"/>
                  <a:pt x="773074" y="8275"/>
                </a:cubicBezTo>
                <a:cubicBezTo>
                  <a:pt x="942252" y="8275"/>
                  <a:pt x="1079398" y="145421"/>
                  <a:pt x="1079398" y="314599"/>
                </a:cubicBezTo>
                <a:cubicBezTo>
                  <a:pt x="1079398" y="483777"/>
                  <a:pt x="942252" y="620923"/>
                  <a:pt x="773074" y="620923"/>
                </a:cubicBezTo>
                <a:lnTo>
                  <a:pt x="67" y="622452"/>
                </a:lnTo>
                <a:cubicBezTo>
                  <a:pt x="44" y="414969"/>
                  <a:pt x="24" y="207482"/>
                  <a:pt x="1" y="-1"/>
                </a:cubicBezTo>
                <a:close/>
              </a:path>
            </a:pathLst>
          </a:custGeom>
          <a:solidFill>
            <a:srgbClr val="3137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351" dirty="0">
              <a:solidFill>
                <a:srgbClr val="FFFFFF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814917" y="1773238"/>
            <a:ext cx="10560819" cy="424867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fr-FR" noProof="0" dirty="0"/>
              <a:t>Modifier les styles du texte du masque</a:t>
            </a:r>
          </a:p>
          <a:p>
            <a:pPr lvl="1"/>
            <a:r>
              <a:rPr lang="fr-FR" noProof="0" dirty="0"/>
              <a:t>Deuxième niveau</a:t>
            </a:r>
          </a:p>
          <a:p>
            <a:pPr lvl="2"/>
            <a:r>
              <a:rPr lang="fr-FR" noProof="0" dirty="0"/>
              <a:t>Troisième niveau</a:t>
            </a:r>
          </a:p>
          <a:p>
            <a:pPr lvl="3"/>
            <a:r>
              <a:rPr lang="fr-FR" noProof="0" dirty="0"/>
              <a:t>Quatrième niveau</a:t>
            </a:r>
          </a:p>
          <a:p>
            <a:pPr lvl="4"/>
            <a:r>
              <a:rPr lang="fr-FR" noProof="0" dirty="0"/>
              <a:t>Cinquième niveau</a:t>
            </a:r>
          </a:p>
        </p:txBody>
      </p:sp>
      <p:sp>
        <p:nvSpPr>
          <p:cNvPr id="13" name="Title Placeholder 1"/>
          <p:cNvSpPr>
            <a:spLocks noGrp="1"/>
          </p:cNvSpPr>
          <p:nvPr>
            <p:ph type="title"/>
          </p:nvPr>
        </p:nvSpPr>
        <p:spPr>
          <a:xfrm>
            <a:off x="816265" y="209821"/>
            <a:ext cx="10560820" cy="434871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noProof="0" dirty="0"/>
              <a:t>Modifiez le style du titre</a:t>
            </a:r>
          </a:p>
        </p:txBody>
      </p:sp>
      <p:grpSp>
        <p:nvGrpSpPr>
          <p:cNvPr id="39" name="Groupe 13">
            <a:extLst>
              <a:ext uri="{FF2B5EF4-FFF2-40B4-BE49-F238E27FC236}">
                <a16:creationId xmlns="" xmlns:a16="http://schemas.microsoft.com/office/drawing/2014/main" id="{DE09B937-F86D-7E4A-8B3F-293E21C09525}"/>
              </a:ext>
            </a:extLst>
          </p:cNvPr>
          <p:cNvGrpSpPr/>
          <p:nvPr/>
        </p:nvGrpSpPr>
        <p:grpSpPr>
          <a:xfrm>
            <a:off x="11485569" y="6231199"/>
            <a:ext cx="408776" cy="405060"/>
            <a:chOff x="4763" y="1558926"/>
            <a:chExt cx="2095500" cy="2076450"/>
          </a:xfrm>
          <a:solidFill>
            <a:schemeClr val="accent2"/>
          </a:solidFill>
        </p:grpSpPr>
        <p:sp>
          <p:nvSpPr>
            <p:cNvPr id="40" name="Freeform 11">
              <a:extLst>
                <a:ext uri="{FF2B5EF4-FFF2-40B4-BE49-F238E27FC236}">
                  <a16:creationId xmlns="" xmlns:a16="http://schemas.microsoft.com/office/drawing/2014/main" id="{1BD319B6-B6A8-E84F-B449-126BB010FDAD}"/>
                </a:ext>
              </a:extLst>
            </p:cNvPr>
            <p:cNvSpPr>
              <a:spLocks/>
            </p:cNvSpPr>
            <p:nvPr/>
          </p:nvSpPr>
          <p:spPr bwMode="auto">
            <a:xfrm>
              <a:off x="720725" y="1808164"/>
              <a:ext cx="663575" cy="841375"/>
            </a:xfrm>
            <a:custGeom>
              <a:avLst/>
              <a:gdLst>
                <a:gd name="T0" fmla="*/ 302 w 302"/>
                <a:gd name="T1" fmla="*/ 151 h 383"/>
                <a:gd name="T2" fmla="*/ 151 w 302"/>
                <a:gd name="T3" fmla="*/ 0 h 383"/>
                <a:gd name="T4" fmla="*/ 0 w 302"/>
                <a:gd name="T5" fmla="*/ 151 h 383"/>
                <a:gd name="T6" fmla="*/ 0 w 302"/>
                <a:gd name="T7" fmla="*/ 232 h 383"/>
                <a:gd name="T8" fmla="*/ 151 w 302"/>
                <a:gd name="T9" fmla="*/ 383 h 383"/>
                <a:gd name="T10" fmla="*/ 302 w 302"/>
                <a:gd name="T11" fmla="*/ 232 h 383"/>
                <a:gd name="T12" fmla="*/ 302 w 302"/>
                <a:gd name="T13" fmla="*/ 151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383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218"/>
                    <a:pt x="0" y="232"/>
                  </a:cubicBezTo>
                  <a:cubicBezTo>
                    <a:pt x="0" y="315"/>
                    <a:pt x="67" y="383"/>
                    <a:pt x="151" y="383"/>
                  </a:cubicBezTo>
                  <a:cubicBezTo>
                    <a:pt x="234" y="383"/>
                    <a:pt x="302" y="315"/>
                    <a:pt x="302" y="232"/>
                  </a:cubicBezTo>
                  <a:cubicBezTo>
                    <a:pt x="302" y="218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1" name="Freeform 12">
              <a:extLst>
                <a:ext uri="{FF2B5EF4-FFF2-40B4-BE49-F238E27FC236}">
                  <a16:creationId xmlns="" xmlns:a16="http://schemas.microsoft.com/office/drawing/2014/main" id="{2BED74D2-1BC3-AB4A-9703-B60958516D67}"/>
                </a:ext>
              </a:extLst>
            </p:cNvPr>
            <p:cNvSpPr>
              <a:spLocks/>
            </p:cNvSpPr>
            <p:nvPr/>
          </p:nvSpPr>
          <p:spPr bwMode="auto">
            <a:xfrm>
              <a:off x="4763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  <p:sp>
          <p:nvSpPr>
            <p:cNvPr id="42" name="Freeform 13">
              <a:extLst>
                <a:ext uri="{FF2B5EF4-FFF2-40B4-BE49-F238E27FC236}">
                  <a16:creationId xmlns="" xmlns:a16="http://schemas.microsoft.com/office/drawing/2014/main" id="{0952E9AE-1611-1A43-B141-B75FB7F17B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8275" y="1558926"/>
              <a:ext cx="661988" cy="2076450"/>
            </a:xfrm>
            <a:custGeom>
              <a:avLst/>
              <a:gdLst>
                <a:gd name="T0" fmla="*/ 302 w 302"/>
                <a:gd name="T1" fmla="*/ 151 h 946"/>
                <a:gd name="T2" fmla="*/ 151 w 302"/>
                <a:gd name="T3" fmla="*/ 0 h 946"/>
                <a:gd name="T4" fmla="*/ 0 w 302"/>
                <a:gd name="T5" fmla="*/ 151 h 946"/>
                <a:gd name="T6" fmla="*/ 0 w 302"/>
                <a:gd name="T7" fmla="*/ 795 h 946"/>
                <a:gd name="T8" fmla="*/ 151 w 302"/>
                <a:gd name="T9" fmla="*/ 946 h 946"/>
                <a:gd name="T10" fmla="*/ 302 w 302"/>
                <a:gd name="T11" fmla="*/ 795 h 946"/>
                <a:gd name="T12" fmla="*/ 302 w 302"/>
                <a:gd name="T13" fmla="*/ 151 h 9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2" h="946">
                  <a:moveTo>
                    <a:pt x="302" y="151"/>
                  </a:moveTo>
                  <a:cubicBezTo>
                    <a:pt x="302" y="68"/>
                    <a:pt x="234" y="0"/>
                    <a:pt x="151" y="0"/>
                  </a:cubicBezTo>
                  <a:cubicBezTo>
                    <a:pt x="67" y="0"/>
                    <a:pt x="0" y="68"/>
                    <a:pt x="0" y="151"/>
                  </a:cubicBezTo>
                  <a:cubicBezTo>
                    <a:pt x="0" y="165"/>
                    <a:pt x="0" y="781"/>
                    <a:pt x="0" y="795"/>
                  </a:cubicBezTo>
                  <a:cubicBezTo>
                    <a:pt x="0" y="879"/>
                    <a:pt x="67" y="946"/>
                    <a:pt x="151" y="946"/>
                  </a:cubicBezTo>
                  <a:cubicBezTo>
                    <a:pt x="234" y="946"/>
                    <a:pt x="302" y="879"/>
                    <a:pt x="302" y="795"/>
                  </a:cubicBezTo>
                  <a:cubicBezTo>
                    <a:pt x="302" y="781"/>
                    <a:pt x="302" y="165"/>
                    <a:pt x="302" y="15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fr-FR" sz="2400" dirty="0">
                <a:solidFill>
                  <a:srgbClr val="323748"/>
                </a:solidFill>
              </a:endParaRPr>
            </a:p>
          </p:txBody>
        </p:sp>
      </p:grpSp>
      <p:sp>
        <p:nvSpPr>
          <p:cNvPr id="4" name="ZoneTexte 3"/>
          <p:cNvSpPr txBox="1"/>
          <p:nvPr/>
        </p:nvSpPr>
        <p:spPr>
          <a:xfrm>
            <a:off x="10261601" y="6515388"/>
            <a:ext cx="1146905" cy="143565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48000" tIns="0" rIns="48000" bIns="0" rtlCol="0" anchor="ctr">
            <a:spAutoFit/>
          </a:bodyPr>
          <a:lstStyle/>
          <a:p>
            <a:r>
              <a:rPr lang="fr-FR" sz="933" dirty="0">
                <a:solidFill>
                  <a:srgbClr val="323748"/>
                </a:solidFill>
              </a:rPr>
              <a:t>Confidentiel © PMP</a:t>
            </a:r>
          </a:p>
        </p:txBody>
      </p:sp>
      <p:sp>
        <p:nvSpPr>
          <p:cNvPr id="2" name="ZoneTexte 1">
            <a:extLst>
              <a:ext uri="{FF2B5EF4-FFF2-40B4-BE49-F238E27FC236}">
                <a16:creationId xmlns="" xmlns:a16="http://schemas.microsoft.com/office/drawing/2014/main" id="{5ADF5210-DDE8-411D-930B-5497A4C5CF5C}"/>
              </a:ext>
            </a:extLst>
          </p:cNvPr>
          <p:cNvSpPr txBox="1"/>
          <p:nvPr/>
        </p:nvSpPr>
        <p:spPr>
          <a:xfrm>
            <a:off x="372205" y="6521476"/>
            <a:ext cx="211596" cy="143565"/>
          </a:xfrm>
          <a:prstGeom prst="rect">
            <a:avLst/>
          </a:prstGeom>
          <a:noFill/>
          <a:ln w="6350">
            <a:noFill/>
          </a:ln>
        </p:spPr>
        <p:txBody>
          <a:bodyPr vert="horz" wrap="none" lIns="0" tIns="0" rIns="0" bIns="0" rtlCol="0" anchor="ctr">
            <a:spAutoFit/>
          </a:bodyPr>
          <a:lstStyle/>
          <a:p>
            <a:pPr algn="ctr"/>
            <a:fld id="{F3D2FE3E-D211-485C-B2FD-0BB55D41EBCA}" type="slidenum">
              <a:rPr lang="fr-FR" sz="933" smtClean="0">
                <a:solidFill>
                  <a:srgbClr val="FFFFFF"/>
                </a:solidFill>
              </a:rPr>
              <a:pPr algn="ctr"/>
              <a:t>‹N°›</a:t>
            </a:fld>
            <a:endParaRPr lang="fr-FR" sz="933" dirty="0">
              <a:solidFill>
                <a:srgbClr val="FFFFFF"/>
              </a:solidFill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="" xmlns:a16="http://schemas.microsoft.com/office/drawing/2014/main" id="{C0A7DBC9-14F9-46D0-A985-237502F7BBD2}"/>
              </a:ext>
            </a:extLst>
          </p:cNvPr>
          <p:cNvSpPr txBox="1"/>
          <p:nvPr/>
        </p:nvSpPr>
        <p:spPr>
          <a:xfrm>
            <a:off x="771576" y="6535873"/>
            <a:ext cx="5568000" cy="12311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48000" tIns="0" rIns="48000" bIns="0" rtlCol="0" anchor="ctr">
            <a:spAutoFit/>
          </a:bodyPr>
          <a:lstStyle/>
          <a:p>
            <a:r>
              <a:rPr lang="fr-FR" sz="800" dirty="0">
                <a:solidFill>
                  <a:srgbClr val="323748"/>
                </a:solidFill>
              </a:rPr>
              <a:t>PRÉSANSE – Elaboration d’un socle commun régional de l’offre des SSTI – Synthèse nationale des travaux</a:t>
            </a:r>
          </a:p>
        </p:txBody>
      </p:sp>
    </p:spTree>
    <p:extLst>
      <p:ext uri="{BB962C8B-B14F-4D97-AF65-F5344CB8AC3E}">
        <p14:creationId xmlns:p14="http://schemas.microsoft.com/office/powerpoint/2010/main" val="1486589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  <p:sldLayoutId id="2147483722" r:id="rId19"/>
    <p:sldLayoutId id="2147483723" r:id="rId20"/>
    <p:sldLayoutId id="2147483724" r:id="rId21"/>
    <p:sldLayoutId id="2147483725" r:id="rId22"/>
    <p:sldLayoutId id="2147483726" r:id="rId23"/>
    <p:sldLayoutId id="2147483727" r:id="rId24"/>
    <p:sldLayoutId id="2147483728" r:id="rId25"/>
    <p:sldLayoutId id="2147483729" r:id="rId26"/>
    <p:sldLayoutId id="2147483730" r:id="rId27"/>
    <p:sldLayoutId id="2147483731" r:id="rId28"/>
    <p:sldLayoutId id="2147483732" r:id="rId29"/>
    <p:sldLayoutId id="2147483733" r:id="rId30"/>
    <p:sldLayoutId id="2147483734" r:id="rId31"/>
    <p:sldLayoutId id="2147483735" r:id="rId32"/>
    <p:sldLayoutId id="2147483736" r:id="rId33"/>
    <p:sldLayoutId id="2147483737" r:id="rId34"/>
  </p:sldLayoutIdLst>
  <p:txStyles>
    <p:titleStyle>
      <a:lvl1pPr algn="l" defTabSz="914332" rtl="0" eaLnBrk="1" latinLnBrk="0" hangingPunct="1">
        <a:lnSpc>
          <a:spcPct val="100000"/>
        </a:lnSpc>
        <a:spcBef>
          <a:spcPct val="0"/>
        </a:spcBef>
        <a:buNone/>
        <a:defRPr sz="2800" b="1" kern="1200">
          <a:solidFill>
            <a:schemeClr val="tx2"/>
          </a:solidFill>
          <a:latin typeface="+mj-lt"/>
          <a:ea typeface="+mj-ea"/>
          <a:cs typeface="Segoe UI" panose="020B0502040204020203" pitchFamily="34" charset="0"/>
        </a:defRPr>
      </a:lvl1pPr>
    </p:titleStyle>
    <p:bodyStyle>
      <a:lvl1pPr marL="0" indent="0" algn="l" defTabSz="914332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467" b="1" i="0" kern="120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1pPr>
      <a:lvl2pPr marL="0" indent="0" algn="l" defTabSz="914332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None/>
        <a:defRPr sz="1067" b="0" i="0" kern="120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2pPr>
      <a:lvl3pPr marL="431968" indent="-215984" algn="l" defTabSz="914332" rtl="0" eaLnBrk="1" latinLnBrk="0" hangingPunct="1">
        <a:lnSpc>
          <a:spcPct val="100000"/>
        </a:lnSpc>
        <a:spcBef>
          <a:spcPts val="600"/>
        </a:spcBef>
        <a:buClr>
          <a:schemeClr val="accent2"/>
        </a:buClr>
        <a:buSzPct val="120000"/>
        <a:buFont typeface="Arial" panose="020B0604020202020204" pitchFamily="34" charset="0"/>
        <a:buChar char="•"/>
        <a:defRPr sz="1067" b="0" i="0" kern="120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3pPr>
      <a:lvl4pPr marL="431989" indent="-215995" algn="l" defTabSz="914332" rtl="0" eaLnBrk="1" latinLnBrk="0" hangingPunct="1">
        <a:lnSpc>
          <a:spcPct val="100000"/>
        </a:lnSpc>
        <a:spcBef>
          <a:spcPts val="600"/>
        </a:spcBef>
        <a:buClr>
          <a:schemeClr val="accent3"/>
        </a:buClr>
        <a:buSzPct val="120000"/>
        <a:buFont typeface="Arial" panose="020B0604020202020204" pitchFamily="34" charset="0"/>
        <a:buChar char="•"/>
        <a:tabLst/>
        <a:defRPr sz="1067" b="0" i="0" kern="1200">
          <a:solidFill>
            <a:schemeClr val="tx1"/>
          </a:solidFill>
          <a:latin typeface="+mn-lt"/>
          <a:ea typeface="+mn-ea"/>
          <a:cs typeface="Segoe UI" panose="020B0502040204020203" pitchFamily="34" charset="0"/>
        </a:defRPr>
      </a:lvl4pPr>
      <a:lvl5pPr marL="863936" indent="-215984" algn="l" defTabSz="914332" rtl="0" eaLnBrk="1" latinLnBrk="0" hangingPunct="1">
        <a:lnSpc>
          <a:spcPct val="100000"/>
        </a:lnSpc>
        <a:spcBef>
          <a:spcPts val="600"/>
        </a:spcBef>
        <a:buClr>
          <a:schemeClr val="tx1"/>
        </a:buClr>
        <a:buFont typeface="Arial" panose="020B0604020202020204" pitchFamily="34" charset="0"/>
        <a:buChar char="-"/>
        <a:defRPr sz="800" b="0" i="0" kern="1200" baseline="0">
          <a:solidFill>
            <a:schemeClr val="tx1"/>
          </a:soli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412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78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744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10" indent="-228584" algn="l" defTabSz="91433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2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8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3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4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60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7" algn="l" defTabSz="91433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385">
          <p15:clr>
            <a:srgbClr val="F26B43"/>
          </p15:clr>
        </p15:guide>
        <p15:guide id="2" pos="5375">
          <p15:clr>
            <a:srgbClr val="F26B43"/>
          </p15:clr>
        </p15:guide>
        <p15:guide id="3" orient="horz" pos="2845">
          <p15:clr>
            <a:srgbClr val="F26B43"/>
          </p15:clr>
        </p15:guide>
        <p15:guide id="4" orient="horz" pos="838">
          <p15:clr>
            <a:srgbClr val="F26B43"/>
          </p15:clr>
        </p15:guide>
        <p15:guide id="5" pos="2767">
          <p15:clr>
            <a:srgbClr val="F26B43"/>
          </p15:clr>
        </p15:guide>
        <p15:guide id="6" pos="2993">
          <p15:clr>
            <a:srgbClr val="F26B43"/>
          </p15:clr>
        </p15:guide>
        <p15:guide id="7" orient="horz" pos="441">
          <p15:clr>
            <a:srgbClr val="F26B43"/>
          </p15:clr>
        </p15:guide>
        <p15:guide id="8" orient="horz" pos="259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7754938" y="6356350"/>
            <a:ext cx="4114800" cy="365125"/>
          </a:xfrm>
          <a:prstGeom prst="rect">
            <a:avLst/>
          </a:prstGeom>
        </p:spPr>
        <p:txBody>
          <a:bodyPr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pic>
        <p:nvPicPr>
          <p:cNvPr id="2051" name="Image 12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52150" y="6326188"/>
            <a:ext cx="1147763" cy="374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343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775425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3289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7884887" y="6356349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r>
              <a:rPr lang="fr-FR" dirty="0" err="1" smtClean="0">
                <a:solidFill>
                  <a:srgbClr val="555654">
                    <a:tint val="75000"/>
                  </a:srgbClr>
                </a:solidFill>
              </a:rPr>
              <a:t>Présanse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</a:t>
            </a:r>
            <a:r>
              <a:rPr lang="mr-IN" dirty="0" smtClean="0">
                <a:solidFill>
                  <a:srgbClr val="555654">
                    <a:tint val="75000"/>
                  </a:srgbClr>
                </a:solidFill>
              </a:rPr>
              <a:t>–</a:t>
            </a:r>
            <a:r>
              <a:rPr lang="fr-FR" dirty="0" smtClean="0">
                <a:solidFill>
                  <a:srgbClr val="555654">
                    <a:tint val="75000"/>
                  </a:srgbClr>
                </a:solidFill>
              </a:rPr>
              <a:t> Masque Powerpoint / JJ.MM.AAAA</a:t>
            </a:r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4590142" y="6356349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fld id="{443935BB-9C05-C34E-BF02-B47196A5F45A}" type="slidenum">
              <a:rPr lang="fr-FR" smtClean="0">
                <a:solidFill>
                  <a:srgbClr val="555654">
                    <a:tint val="75000"/>
                  </a:srgbClr>
                </a:solidFill>
              </a:rPr>
              <a:pPr/>
              <a:t>‹N°›</a:t>
            </a:fld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  <p:sp>
        <p:nvSpPr>
          <p:cNvPr id="9" name="Espace réservé du pied de page 4"/>
          <p:cNvSpPr txBox="1">
            <a:spLocks/>
          </p:cNvSpPr>
          <p:nvPr userDrawn="1"/>
        </p:nvSpPr>
        <p:spPr>
          <a:xfrm>
            <a:off x="7754257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r-FR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fr-FR" dirty="0">
              <a:solidFill>
                <a:srgbClr val="55565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622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8" r:id="rId1"/>
    <p:sldLayoutId id="2147483759" r:id="rId2"/>
    <p:sldLayoutId id="2147483760" r:id="rId3"/>
    <p:sldLayoutId id="2147483761" r:id="rId4"/>
    <p:sldLayoutId id="2147483762" r:id="rId5"/>
    <p:sldLayoutId id="2147483763" r:id="rId6"/>
    <p:sldLayoutId id="2147483764" r:id="rId7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image" Target="../media/image23.png"/><Relationship Id="rId18" Type="http://schemas.microsoft.com/office/2007/relationships/hdphoto" Target="../media/hdphoto3.wdp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22.png"/><Relationship Id="rId12" Type="http://schemas.openxmlformats.org/officeDocument/2006/relationships/image" Target="../media/image7.svg"/><Relationship Id="rId17" Type="http://schemas.openxmlformats.org/officeDocument/2006/relationships/image" Target="../media/image25.png"/><Relationship Id="rId2" Type="http://schemas.openxmlformats.org/officeDocument/2006/relationships/tags" Target="../tags/tag1.xml"/><Relationship Id="rId16" Type="http://schemas.microsoft.com/office/2007/relationships/hdphoto" Target="../media/hdphoto2.wdp"/><Relationship Id="rId1" Type="http://schemas.openxmlformats.org/officeDocument/2006/relationships/vmlDrawing" Target="../drawings/vmlDrawing1.vml"/><Relationship Id="rId6" Type="http://schemas.openxmlformats.org/officeDocument/2006/relationships/image" Target="../media/image21.emf"/><Relationship Id="rId5" Type="http://schemas.openxmlformats.org/officeDocument/2006/relationships/oleObject" Target="../embeddings/oleObject1.bin"/><Relationship Id="rId15" Type="http://schemas.openxmlformats.org/officeDocument/2006/relationships/image" Target="../media/image24.png"/><Relationship Id="rId4" Type="http://schemas.openxmlformats.org/officeDocument/2006/relationships/notesSlide" Target="../notesSlides/notesSlide2.xml"/><Relationship Id="rId14" Type="http://schemas.microsoft.com/office/2007/relationships/hdphoto" Target="../media/hdphoto1.wdp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sz="quarter" idx="14"/>
          </p:nvPr>
        </p:nvSpPr>
        <p:spPr>
          <a:xfrm>
            <a:off x="1528249" y="3182144"/>
            <a:ext cx="9131967" cy="830262"/>
          </a:xfrm>
        </p:spPr>
        <p:txBody>
          <a:bodyPr/>
          <a:lstStyle/>
          <a:p>
            <a:pPr>
              <a:spcBef>
                <a:spcPct val="0"/>
              </a:spcBef>
            </a:pPr>
            <a:r>
              <a:rPr lang="fr-FR" altLang="fr-FR" i="1" dirty="0" smtClean="0"/>
              <a:t>OFFRE DE SERVICES PARTAGEE DES SSTI </a:t>
            </a:r>
          </a:p>
          <a:p>
            <a:pPr>
              <a:spcBef>
                <a:spcPct val="0"/>
              </a:spcBef>
            </a:pPr>
            <a:r>
              <a:rPr lang="fr-FR" altLang="fr-FR" i="1" dirty="0" smtClean="0"/>
              <a:t>PENDANT LA CRISE SANITAIRE</a:t>
            </a:r>
            <a:endParaRPr lang="fr-FR" altLang="fr-FR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31086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t 43" hidden="1">
            <a:extLst>
              <a:ext uri="{FF2B5EF4-FFF2-40B4-BE49-F238E27FC236}">
                <a16:creationId xmlns="" xmlns:a16="http://schemas.microsoft.com/office/drawing/2014/main" id="{DD692251-7203-4173-A02B-2B9B55E7842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4" name="Diapositive think-cell" r:id="rId5" imgW="395" imgH="394" progId="TCLayout.ActiveDocument.1">
                  <p:embed/>
                </p:oleObj>
              </mc:Choice>
              <mc:Fallback>
                <p:oleObj name="Diapositive think-cell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 42">
            <a:extLst>
              <a:ext uri="{FF2B5EF4-FFF2-40B4-BE49-F238E27FC236}">
                <a16:creationId xmlns="" xmlns:a16="http://schemas.microsoft.com/office/drawing/2014/main" id="{E68C9360-84A0-41DC-AC68-3AE77CB19DBA}"/>
              </a:ext>
            </a:extLst>
          </p:cNvPr>
          <p:cNvSpPr/>
          <p:nvPr/>
        </p:nvSpPr>
        <p:spPr>
          <a:xfrm>
            <a:off x="-32726" y="1"/>
            <a:ext cx="93186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dirty="0"/>
          </a:p>
        </p:txBody>
      </p:sp>
      <p:sp>
        <p:nvSpPr>
          <p:cNvPr id="2" name="Espace réservé du texte 1">
            <a:extLst>
              <a:ext uri="{FF2B5EF4-FFF2-40B4-BE49-F238E27FC236}">
                <a16:creationId xmlns="" xmlns:a16="http://schemas.microsoft.com/office/drawing/2014/main" id="{814E4CBF-002B-473F-9857-7460B6D7A146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8446" y="169227"/>
            <a:ext cx="10536466" cy="790144"/>
          </a:xfrm>
        </p:spPr>
        <p:txBody>
          <a:bodyPr>
            <a:normAutofit fontScale="85000" lnSpcReduction="10000"/>
          </a:bodyPr>
          <a:lstStyle/>
          <a:p>
            <a:r>
              <a:rPr lang="fr-FR" sz="2800" dirty="0" smtClean="0"/>
              <a:t>Offre de services – </a:t>
            </a:r>
          </a:p>
          <a:p>
            <a:r>
              <a:rPr lang="fr-FR" sz="2800" dirty="0" smtClean="0"/>
              <a:t>Accompagnement des Entreprises pour la reprise d’activité avec Covid-19</a:t>
            </a:r>
            <a:endParaRPr lang="fr-FR" sz="2800" dirty="0"/>
          </a:p>
        </p:txBody>
      </p:sp>
      <p:sp>
        <p:nvSpPr>
          <p:cNvPr id="83" name="ZoneTexte 82">
            <a:extLst>
              <a:ext uri="{FF2B5EF4-FFF2-40B4-BE49-F238E27FC236}">
                <a16:creationId xmlns="" xmlns:a16="http://schemas.microsoft.com/office/drawing/2014/main" id="{1CFED61F-6E9E-4F93-809B-38035A482832}"/>
              </a:ext>
            </a:extLst>
          </p:cNvPr>
          <p:cNvSpPr txBox="1"/>
          <p:nvPr/>
        </p:nvSpPr>
        <p:spPr>
          <a:xfrm>
            <a:off x="3850108" y="1280198"/>
            <a:ext cx="1800000" cy="1290549"/>
          </a:xfrm>
          <a:prstGeom prst="rect">
            <a:avLst/>
          </a:prstGeom>
          <a:noFill/>
          <a:ln w="6350">
            <a:noFill/>
          </a:ln>
          <a:effectLst/>
        </p:spPr>
        <p:txBody>
          <a:bodyPr vert="horz" wrap="square" lIns="36000" tIns="0" rIns="36000" bIns="0" rtlCol="0" anchor="t">
            <a:noAutofit/>
          </a:bodyPr>
          <a:lstStyle/>
          <a:p>
            <a:pPr algn="ctr">
              <a:defRPr/>
            </a:pPr>
            <a:r>
              <a:rPr lang="fr-FR" sz="1200" b="1" dirty="0">
                <a:solidFill>
                  <a:schemeClr val="accent6"/>
                </a:solidFill>
                <a:latin typeface="Segoe UI"/>
              </a:rPr>
              <a:t>ASSURER UN SUIVI INDIVIDUEL ET ADAPTE DE L’ETAT DE SANTE DE TOUS LES TRAVAILLEURS</a:t>
            </a:r>
          </a:p>
        </p:txBody>
      </p:sp>
      <p:sp>
        <p:nvSpPr>
          <p:cNvPr id="86" name="ZoneTexte 85">
            <a:extLst>
              <a:ext uri="{FF2B5EF4-FFF2-40B4-BE49-F238E27FC236}">
                <a16:creationId xmlns="" xmlns:a16="http://schemas.microsoft.com/office/drawing/2014/main" id="{627C17FE-8CE3-4919-8FB0-50AA2C966926}"/>
              </a:ext>
            </a:extLst>
          </p:cNvPr>
          <p:cNvSpPr txBox="1"/>
          <p:nvPr/>
        </p:nvSpPr>
        <p:spPr>
          <a:xfrm>
            <a:off x="6009336" y="1310536"/>
            <a:ext cx="1800000" cy="1290549"/>
          </a:xfrm>
          <a:prstGeom prst="rect">
            <a:avLst/>
          </a:prstGeom>
          <a:noFill/>
          <a:ln w="6350">
            <a:noFill/>
          </a:ln>
          <a:effectLst/>
        </p:spPr>
        <p:txBody>
          <a:bodyPr vert="horz" wrap="square" lIns="36000" tIns="0" rIns="36000" bIns="0" rtlCol="0" anchor="t">
            <a:noAutofit/>
          </a:bodyPr>
          <a:lstStyle/>
          <a:p>
            <a:pPr algn="ctr">
              <a:defRPr/>
            </a:pPr>
            <a:r>
              <a:rPr lang="fr-FR" sz="1200" b="1" dirty="0">
                <a:solidFill>
                  <a:schemeClr val="accent6"/>
                </a:solidFill>
                <a:latin typeface="Segoe UI"/>
              </a:rPr>
              <a:t>INFORMER, SENSIBILISER, CONSEILLER POUR AGIR EN  PREVENTION</a:t>
            </a:r>
          </a:p>
          <a:p>
            <a:pPr algn="ctr">
              <a:defRPr/>
            </a:pPr>
            <a:r>
              <a:rPr lang="fr-FR" sz="1200" b="1" dirty="0">
                <a:solidFill>
                  <a:schemeClr val="accent6"/>
                </a:solidFill>
                <a:latin typeface="Segoe UI"/>
              </a:rPr>
              <a:t>	</a:t>
            </a:r>
          </a:p>
        </p:txBody>
      </p:sp>
      <p:sp>
        <p:nvSpPr>
          <p:cNvPr id="90" name="ZoneTexte 89">
            <a:extLst>
              <a:ext uri="{FF2B5EF4-FFF2-40B4-BE49-F238E27FC236}">
                <a16:creationId xmlns="" xmlns:a16="http://schemas.microsoft.com/office/drawing/2014/main" id="{25A47A0B-811D-42BC-96B0-E80E8DE95E38}"/>
              </a:ext>
            </a:extLst>
          </p:cNvPr>
          <p:cNvSpPr txBox="1"/>
          <p:nvPr/>
        </p:nvSpPr>
        <p:spPr>
          <a:xfrm>
            <a:off x="3777249" y="3351949"/>
            <a:ext cx="2139079" cy="2203361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36000" tIns="0" rIns="36000" bIns="0" rtlCol="0">
            <a:noAutofit/>
          </a:bodyPr>
          <a:lstStyle/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Visites d’embauche, visites périodiques,  visites à la demande, examens complémentaires, assurées de manière effective et dans les délais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réglementaires dérogatoires : report des visites et priorisation mis en œuvre</a:t>
            </a: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 </a:t>
            </a:r>
            <a:endParaRPr lang="fr-FR" sz="1000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Restitution individuelle à chaque salarié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accompagnée </a:t>
            </a: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de conseils de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prévention</a:t>
            </a:r>
          </a:p>
          <a:p>
            <a:pPr fontAlgn="ctr"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Utilisation de solutions de téléconsultation autant que possible </a:t>
            </a:r>
          </a:p>
          <a:p>
            <a:pPr fontAlgn="ctr">
              <a:buSzPts val="1000"/>
              <a:tabLst>
                <a:tab pos="457200" algn="l"/>
              </a:tabLst>
            </a:pPr>
            <a:endParaRPr lang="fr-FR" sz="1000" b="1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marL="171450" indent="-171450" fontAlgn="ctr">
              <a:buSzPts val="1000"/>
              <a:buFontTx/>
              <a:buChar char="-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marL="342900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</p:txBody>
      </p:sp>
      <p:sp>
        <p:nvSpPr>
          <p:cNvPr id="91" name="ZoneTexte 90">
            <a:extLst>
              <a:ext uri="{FF2B5EF4-FFF2-40B4-BE49-F238E27FC236}">
                <a16:creationId xmlns="" xmlns:a16="http://schemas.microsoft.com/office/drawing/2014/main" id="{C100BA16-B770-485E-AC4F-13B3B03CA4EB}"/>
              </a:ext>
            </a:extLst>
          </p:cNvPr>
          <p:cNvSpPr txBox="1"/>
          <p:nvPr/>
        </p:nvSpPr>
        <p:spPr>
          <a:xfrm>
            <a:off x="6017606" y="3320766"/>
            <a:ext cx="2096663" cy="3107739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36000" tIns="0" rIns="36000" bIns="0" rtlCol="0">
            <a:noAutofit/>
          </a:bodyPr>
          <a:lstStyle/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Information </a:t>
            </a:r>
            <a:r>
              <a:rPr lang="fr-FR" sz="1000" dirty="0">
                <a:solidFill>
                  <a:schemeClr val="accent6"/>
                </a:solidFill>
                <a:latin typeface="Segoe UI"/>
              </a:rPr>
              <a:t>sur le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virus</a:t>
            </a:r>
          </a:p>
          <a:p>
            <a:pPr fontAlgn="ctr"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Conseils si cas de contamination dans l’entreprise ou suspicion de contamination</a:t>
            </a: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</a:pPr>
            <a:endParaRPr lang="fr-FR" sz="1000" dirty="0" smtClean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Informations </a:t>
            </a:r>
            <a:r>
              <a:rPr lang="fr-FR" sz="1000" dirty="0">
                <a:solidFill>
                  <a:schemeClr val="accent6"/>
                </a:solidFill>
                <a:latin typeface="Segoe UI"/>
              </a:rPr>
              <a:t>et sensibilisations aux risques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liés à l’épidémie(ateliers, webinaires,…)</a:t>
            </a: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  <a:defRPr/>
            </a:pPr>
            <a:r>
              <a:rPr lang="fr-FR" sz="1000" dirty="0">
                <a:solidFill>
                  <a:schemeClr val="accent6"/>
                </a:solidFill>
                <a:latin typeface="Segoe UI"/>
              </a:rPr>
              <a:t>Informations et expertise au service des instances de l’entreprise (CSE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…) pour préparer la reprise</a:t>
            </a: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  <a:defRPr/>
            </a:pP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</a:rPr>
              <a:t>Conseils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sur l’aménagement des </a:t>
            </a:r>
            <a:r>
              <a:rPr lang="fr-FR" sz="1000" dirty="0">
                <a:solidFill>
                  <a:schemeClr val="accent6"/>
                </a:solidFill>
                <a:latin typeface="Segoe UI"/>
              </a:rPr>
              <a:t>lieux de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travail pour tenir compte du risque </a:t>
            </a:r>
            <a:r>
              <a:rPr lang="fr-FR" sz="1000" dirty="0" err="1" smtClean="0">
                <a:solidFill>
                  <a:schemeClr val="accent6"/>
                </a:solidFill>
                <a:latin typeface="Segoe UI"/>
              </a:rPr>
              <a:t>Covid</a:t>
            </a:r>
            <a:endParaRPr lang="fr-FR" sz="1000" dirty="0">
              <a:solidFill>
                <a:schemeClr val="accent6"/>
              </a:solidFill>
              <a:latin typeface="Segoe UI"/>
            </a:endParaRPr>
          </a:p>
        </p:txBody>
      </p:sp>
      <p:sp>
        <p:nvSpPr>
          <p:cNvPr id="95" name="ZoneTexte 94">
            <a:extLst>
              <a:ext uri="{FF2B5EF4-FFF2-40B4-BE49-F238E27FC236}">
                <a16:creationId xmlns="" xmlns:a16="http://schemas.microsoft.com/office/drawing/2014/main" id="{2AFC666E-FC37-4D14-8E72-B745797C09E8}"/>
              </a:ext>
            </a:extLst>
          </p:cNvPr>
          <p:cNvSpPr txBox="1"/>
          <p:nvPr/>
        </p:nvSpPr>
        <p:spPr>
          <a:xfrm>
            <a:off x="8173660" y="1292064"/>
            <a:ext cx="1985911" cy="1194951"/>
          </a:xfrm>
          <a:prstGeom prst="rect">
            <a:avLst/>
          </a:prstGeom>
          <a:noFill/>
          <a:ln w="6350">
            <a:noFill/>
          </a:ln>
          <a:effectLst/>
        </p:spPr>
        <p:txBody>
          <a:bodyPr vert="horz" wrap="square" lIns="36000" tIns="0" rIns="36000" bIns="0" rtlCol="0" anchor="t">
            <a:noAutofit/>
          </a:bodyPr>
          <a:lstStyle/>
          <a:p>
            <a:pPr algn="ctr">
              <a:defRPr/>
            </a:pPr>
            <a:r>
              <a:rPr lang="fr-FR" sz="1200" b="1" dirty="0">
                <a:solidFill>
                  <a:schemeClr val="accent6"/>
                </a:solidFill>
                <a:latin typeface="Segoe UI"/>
              </a:rPr>
              <a:t>REPERER ET ACCOMPAGNER </a:t>
            </a:r>
          </a:p>
          <a:p>
            <a:pPr algn="ctr">
              <a:defRPr/>
            </a:pPr>
            <a:r>
              <a:rPr lang="fr-FR" sz="1200" b="1" dirty="0">
                <a:solidFill>
                  <a:schemeClr val="accent6"/>
                </a:solidFill>
                <a:latin typeface="Segoe UI"/>
              </a:rPr>
              <a:t>LES SALARIES EN RISQUE DE DÉSINSERTION PROFESSIONNELLE</a:t>
            </a:r>
          </a:p>
        </p:txBody>
      </p:sp>
      <p:sp>
        <p:nvSpPr>
          <p:cNvPr id="97" name="ZoneTexte 96">
            <a:extLst>
              <a:ext uri="{FF2B5EF4-FFF2-40B4-BE49-F238E27FC236}">
                <a16:creationId xmlns="" xmlns:a16="http://schemas.microsoft.com/office/drawing/2014/main" id="{9D8DE5E0-2BD4-4614-AFFB-AAA83088840F}"/>
              </a:ext>
            </a:extLst>
          </p:cNvPr>
          <p:cNvSpPr txBox="1"/>
          <p:nvPr/>
        </p:nvSpPr>
        <p:spPr>
          <a:xfrm>
            <a:off x="8237150" y="3258324"/>
            <a:ext cx="2228976" cy="3284866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36000" tIns="0" rIns="36000" bIns="0" rtlCol="0">
            <a:noAutofit/>
          </a:bodyPr>
          <a:lstStyle/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Visite de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pré-reprise</a:t>
            </a:r>
            <a:endParaRPr lang="fr-FR" sz="1000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Visite de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reprise dans le cadre dérogatoire prévu</a:t>
            </a: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endParaRPr lang="fr-FR" sz="1000" b="1" dirty="0" smtClean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endParaRPr lang="fr-FR" sz="1000" b="1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endParaRPr lang="fr-FR" sz="1000" b="1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Accompagnement social des salariés en risque de désinsertion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professionnelle</a:t>
            </a: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Etudes de postes et propositions d’aménagements de postes</a:t>
            </a: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Relais avec les partenaires de la prévention de la désinsertion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professionnelle</a:t>
            </a:r>
            <a:endParaRPr lang="fr-FR" sz="1000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Intervention suite à un évènement grave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(en </a:t>
            </a:r>
            <a:r>
              <a:rPr lang="fr-FR" sz="1000" dirty="0" err="1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partic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. Lié au covid-19)</a:t>
            </a: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endParaRPr lang="fr-FR" sz="1000" dirty="0" smtClean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Orientation vers cellule de soutien</a:t>
            </a: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 psychologique – employeurs et/ou Salariés </a:t>
            </a:r>
          </a:p>
          <a:p>
            <a:pPr lvl="0" fontAlgn="ctr">
              <a:spcAft>
                <a:spcPts val="0"/>
              </a:spcAft>
              <a:buSzPts val="1000"/>
              <a:tabLst>
                <a:tab pos="457200" algn="l"/>
              </a:tabLst>
            </a:pPr>
            <a:endParaRPr lang="fr-FR" sz="1000" b="1" dirty="0">
              <a:solidFill>
                <a:schemeClr val="accent6"/>
              </a:solidFill>
              <a:latin typeface="Segoe UI"/>
              <a:ea typeface="Calibri" panose="020F0502020204030204" pitchFamily="34" charset="0"/>
            </a:endParaRPr>
          </a:p>
        </p:txBody>
      </p:sp>
      <p:sp>
        <p:nvSpPr>
          <p:cNvPr id="100" name="Freeform 15">
            <a:extLst>
              <a:ext uri="{FF2B5EF4-FFF2-40B4-BE49-F238E27FC236}">
                <a16:creationId xmlns="" xmlns:a16="http://schemas.microsoft.com/office/drawing/2014/main" id="{E688FBCA-B0FA-4029-A581-95B29F07023E}"/>
              </a:ext>
            </a:extLst>
          </p:cNvPr>
          <p:cNvSpPr>
            <a:spLocks/>
          </p:cNvSpPr>
          <p:nvPr/>
        </p:nvSpPr>
        <p:spPr bwMode="auto">
          <a:xfrm>
            <a:off x="1639319" y="2772246"/>
            <a:ext cx="1897411" cy="399149"/>
          </a:xfrm>
          <a:custGeom>
            <a:avLst/>
            <a:gdLst>
              <a:gd name="T0" fmla="*/ 1021 w 1033"/>
              <a:gd name="T1" fmla="*/ 254 h 462"/>
              <a:gd name="T2" fmla="*/ 1021 w 1033"/>
              <a:gd name="T3" fmla="*/ 208 h 462"/>
              <a:gd name="T4" fmla="*/ 992 w 1033"/>
              <a:gd name="T5" fmla="*/ 180 h 462"/>
              <a:gd name="T6" fmla="*/ 969 w 1033"/>
              <a:gd name="T7" fmla="*/ 125 h 462"/>
              <a:gd name="T8" fmla="*/ 969 w 1033"/>
              <a:gd name="T9" fmla="*/ 32 h 462"/>
              <a:gd name="T10" fmla="*/ 937 w 1033"/>
              <a:gd name="T11" fmla="*/ 0 h 462"/>
              <a:gd name="T12" fmla="*/ 32 w 1033"/>
              <a:gd name="T13" fmla="*/ 0 h 462"/>
              <a:gd name="T14" fmla="*/ 0 w 1033"/>
              <a:gd name="T15" fmla="*/ 32 h 462"/>
              <a:gd name="T16" fmla="*/ 0 w 1033"/>
              <a:gd name="T17" fmla="*/ 122 h 462"/>
              <a:gd name="T18" fmla="*/ 23 w 1033"/>
              <a:gd name="T19" fmla="*/ 176 h 462"/>
              <a:gd name="T20" fmla="*/ 55 w 1033"/>
              <a:gd name="T21" fmla="*/ 208 h 462"/>
              <a:gd name="T22" fmla="*/ 55 w 1033"/>
              <a:gd name="T23" fmla="*/ 254 h 462"/>
              <a:gd name="T24" fmla="*/ 23 w 1033"/>
              <a:gd name="T25" fmla="*/ 286 h 462"/>
              <a:gd name="T26" fmla="*/ 0 w 1033"/>
              <a:gd name="T27" fmla="*/ 340 h 462"/>
              <a:gd name="T28" fmla="*/ 0 w 1033"/>
              <a:gd name="T29" fmla="*/ 430 h 462"/>
              <a:gd name="T30" fmla="*/ 32 w 1033"/>
              <a:gd name="T31" fmla="*/ 462 h 462"/>
              <a:gd name="T32" fmla="*/ 937 w 1033"/>
              <a:gd name="T33" fmla="*/ 462 h 462"/>
              <a:gd name="T34" fmla="*/ 969 w 1033"/>
              <a:gd name="T35" fmla="*/ 430 h 462"/>
              <a:gd name="T36" fmla="*/ 969 w 1033"/>
              <a:gd name="T37" fmla="*/ 337 h 462"/>
              <a:gd name="T38" fmla="*/ 992 w 1033"/>
              <a:gd name="T39" fmla="*/ 282 h 462"/>
              <a:gd name="T40" fmla="*/ 1021 w 1033"/>
              <a:gd name="T41" fmla="*/ 254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33" h="462">
                <a:moveTo>
                  <a:pt x="1021" y="254"/>
                </a:moveTo>
                <a:cubicBezTo>
                  <a:pt x="1033" y="241"/>
                  <a:pt x="1033" y="221"/>
                  <a:pt x="1021" y="208"/>
                </a:cubicBezTo>
                <a:cubicBezTo>
                  <a:pt x="992" y="180"/>
                  <a:pt x="992" y="180"/>
                  <a:pt x="992" y="180"/>
                </a:cubicBezTo>
                <a:cubicBezTo>
                  <a:pt x="979" y="167"/>
                  <a:pt x="969" y="142"/>
                  <a:pt x="969" y="125"/>
                </a:cubicBezTo>
                <a:cubicBezTo>
                  <a:pt x="969" y="32"/>
                  <a:pt x="969" y="32"/>
                  <a:pt x="969" y="32"/>
                </a:cubicBezTo>
                <a:cubicBezTo>
                  <a:pt x="969" y="14"/>
                  <a:pt x="955" y="0"/>
                  <a:pt x="937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39"/>
                  <a:pt x="10" y="164"/>
                  <a:pt x="23" y="176"/>
                </a:cubicBezTo>
                <a:cubicBezTo>
                  <a:pt x="55" y="208"/>
                  <a:pt x="55" y="208"/>
                  <a:pt x="55" y="208"/>
                </a:cubicBezTo>
                <a:cubicBezTo>
                  <a:pt x="67" y="221"/>
                  <a:pt x="67" y="241"/>
                  <a:pt x="55" y="254"/>
                </a:cubicBezTo>
                <a:cubicBezTo>
                  <a:pt x="23" y="286"/>
                  <a:pt x="23" y="286"/>
                  <a:pt x="23" y="286"/>
                </a:cubicBezTo>
                <a:cubicBezTo>
                  <a:pt x="10" y="298"/>
                  <a:pt x="0" y="323"/>
                  <a:pt x="0" y="340"/>
                </a:cubicBezTo>
                <a:cubicBezTo>
                  <a:pt x="0" y="430"/>
                  <a:pt x="0" y="430"/>
                  <a:pt x="0" y="430"/>
                </a:cubicBezTo>
                <a:cubicBezTo>
                  <a:pt x="0" y="448"/>
                  <a:pt x="14" y="462"/>
                  <a:pt x="32" y="462"/>
                </a:cubicBezTo>
                <a:cubicBezTo>
                  <a:pt x="937" y="462"/>
                  <a:pt x="937" y="462"/>
                  <a:pt x="937" y="462"/>
                </a:cubicBezTo>
                <a:cubicBezTo>
                  <a:pt x="955" y="462"/>
                  <a:pt x="969" y="448"/>
                  <a:pt x="969" y="430"/>
                </a:cubicBezTo>
                <a:cubicBezTo>
                  <a:pt x="969" y="337"/>
                  <a:pt x="969" y="337"/>
                  <a:pt x="969" y="337"/>
                </a:cubicBezTo>
                <a:cubicBezTo>
                  <a:pt x="969" y="319"/>
                  <a:pt x="979" y="295"/>
                  <a:pt x="992" y="282"/>
                </a:cubicBezTo>
                <a:lnTo>
                  <a:pt x="1021" y="254"/>
                </a:lnTo>
                <a:close/>
              </a:path>
            </a:pathLst>
          </a:custGeom>
          <a:solidFill>
            <a:srgbClr val="AECA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IN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1" name="Freeform 15">
            <a:extLst>
              <a:ext uri="{FF2B5EF4-FFF2-40B4-BE49-F238E27FC236}">
                <a16:creationId xmlns="" xmlns:a16="http://schemas.microsoft.com/office/drawing/2014/main" id="{78E5E680-BB7C-4B3A-9D7D-82160F3C3332}"/>
              </a:ext>
            </a:extLst>
          </p:cNvPr>
          <p:cNvSpPr>
            <a:spLocks/>
          </p:cNvSpPr>
          <p:nvPr/>
        </p:nvSpPr>
        <p:spPr bwMode="auto">
          <a:xfrm>
            <a:off x="3815908" y="2765183"/>
            <a:ext cx="1897411" cy="399149"/>
          </a:xfrm>
          <a:custGeom>
            <a:avLst/>
            <a:gdLst>
              <a:gd name="T0" fmla="*/ 1021 w 1033"/>
              <a:gd name="T1" fmla="*/ 254 h 462"/>
              <a:gd name="T2" fmla="*/ 1021 w 1033"/>
              <a:gd name="T3" fmla="*/ 208 h 462"/>
              <a:gd name="T4" fmla="*/ 992 w 1033"/>
              <a:gd name="T5" fmla="*/ 180 h 462"/>
              <a:gd name="T6" fmla="*/ 969 w 1033"/>
              <a:gd name="T7" fmla="*/ 125 h 462"/>
              <a:gd name="T8" fmla="*/ 969 w 1033"/>
              <a:gd name="T9" fmla="*/ 32 h 462"/>
              <a:gd name="T10" fmla="*/ 937 w 1033"/>
              <a:gd name="T11" fmla="*/ 0 h 462"/>
              <a:gd name="T12" fmla="*/ 32 w 1033"/>
              <a:gd name="T13" fmla="*/ 0 h 462"/>
              <a:gd name="T14" fmla="*/ 0 w 1033"/>
              <a:gd name="T15" fmla="*/ 32 h 462"/>
              <a:gd name="T16" fmla="*/ 0 w 1033"/>
              <a:gd name="T17" fmla="*/ 122 h 462"/>
              <a:gd name="T18" fmla="*/ 23 w 1033"/>
              <a:gd name="T19" fmla="*/ 176 h 462"/>
              <a:gd name="T20" fmla="*/ 55 w 1033"/>
              <a:gd name="T21" fmla="*/ 208 h 462"/>
              <a:gd name="T22" fmla="*/ 55 w 1033"/>
              <a:gd name="T23" fmla="*/ 254 h 462"/>
              <a:gd name="T24" fmla="*/ 23 w 1033"/>
              <a:gd name="T25" fmla="*/ 286 h 462"/>
              <a:gd name="T26" fmla="*/ 0 w 1033"/>
              <a:gd name="T27" fmla="*/ 340 h 462"/>
              <a:gd name="T28" fmla="*/ 0 w 1033"/>
              <a:gd name="T29" fmla="*/ 430 h 462"/>
              <a:gd name="T30" fmla="*/ 32 w 1033"/>
              <a:gd name="T31" fmla="*/ 462 h 462"/>
              <a:gd name="T32" fmla="*/ 937 w 1033"/>
              <a:gd name="T33" fmla="*/ 462 h 462"/>
              <a:gd name="T34" fmla="*/ 969 w 1033"/>
              <a:gd name="T35" fmla="*/ 430 h 462"/>
              <a:gd name="T36" fmla="*/ 969 w 1033"/>
              <a:gd name="T37" fmla="*/ 337 h 462"/>
              <a:gd name="T38" fmla="*/ 992 w 1033"/>
              <a:gd name="T39" fmla="*/ 282 h 462"/>
              <a:gd name="T40" fmla="*/ 1021 w 1033"/>
              <a:gd name="T41" fmla="*/ 254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33" h="462">
                <a:moveTo>
                  <a:pt x="1021" y="254"/>
                </a:moveTo>
                <a:cubicBezTo>
                  <a:pt x="1033" y="241"/>
                  <a:pt x="1033" y="221"/>
                  <a:pt x="1021" y="208"/>
                </a:cubicBezTo>
                <a:cubicBezTo>
                  <a:pt x="992" y="180"/>
                  <a:pt x="992" y="180"/>
                  <a:pt x="992" y="180"/>
                </a:cubicBezTo>
                <a:cubicBezTo>
                  <a:pt x="979" y="167"/>
                  <a:pt x="969" y="142"/>
                  <a:pt x="969" y="125"/>
                </a:cubicBezTo>
                <a:cubicBezTo>
                  <a:pt x="969" y="32"/>
                  <a:pt x="969" y="32"/>
                  <a:pt x="969" y="32"/>
                </a:cubicBezTo>
                <a:cubicBezTo>
                  <a:pt x="969" y="14"/>
                  <a:pt x="955" y="0"/>
                  <a:pt x="937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39"/>
                  <a:pt x="10" y="164"/>
                  <a:pt x="23" y="176"/>
                </a:cubicBezTo>
                <a:cubicBezTo>
                  <a:pt x="55" y="208"/>
                  <a:pt x="55" y="208"/>
                  <a:pt x="55" y="208"/>
                </a:cubicBezTo>
                <a:cubicBezTo>
                  <a:pt x="67" y="221"/>
                  <a:pt x="67" y="241"/>
                  <a:pt x="55" y="254"/>
                </a:cubicBezTo>
                <a:cubicBezTo>
                  <a:pt x="23" y="286"/>
                  <a:pt x="23" y="286"/>
                  <a:pt x="23" y="286"/>
                </a:cubicBezTo>
                <a:cubicBezTo>
                  <a:pt x="10" y="298"/>
                  <a:pt x="0" y="323"/>
                  <a:pt x="0" y="340"/>
                </a:cubicBezTo>
                <a:cubicBezTo>
                  <a:pt x="0" y="430"/>
                  <a:pt x="0" y="430"/>
                  <a:pt x="0" y="430"/>
                </a:cubicBezTo>
                <a:cubicBezTo>
                  <a:pt x="0" y="448"/>
                  <a:pt x="14" y="462"/>
                  <a:pt x="32" y="462"/>
                </a:cubicBezTo>
                <a:cubicBezTo>
                  <a:pt x="937" y="462"/>
                  <a:pt x="937" y="462"/>
                  <a:pt x="937" y="462"/>
                </a:cubicBezTo>
                <a:cubicBezTo>
                  <a:pt x="955" y="462"/>
                  <a:pt x="969" y="448"/>
                  <a:pt x="969" y="430"/>
                </a:cubicBezTo>
                <a:cubicBezTo>
                  <a:pt x="969" y="337"/>
                  <a:pt x="969" y="337"/>
                  <a:pt x="969" y="337"/>
                </a:cubicBezTo>
                <a:cubicBezTo>
                  <a:pt x="969" y="319"/>
                  <a:pt x="979" y="295"/>
                  <a:pt x="992" y="282"/>
                </a:cubicBezTo>
                <a:lnTo>
                  <a:pt x="1021" y="254"/>
                </a:lnTo>
                <a:close/>
              </a:path>
            </a:pathLst>
          </a:custGeom>
          <a:solidFill>
            <a:srgbClr val="FFCB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IN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02" name="Freeform 15">
            <a:extLst>
              <a:ext uri="{FF2B5EF4-FFF2-40B4-BE49-F238E27FC236}">
                <a16:creationId xmlns="" xmlns:a16="http://schemas.microsoft.com/office/drawing/2014/main" id="{EB79CC8A-2E17-4C06-B8A7-AB89E26B999D}"/>
              </a:ext>
            </a:extLst>
          </p:cNvPr>
          <p:cNvSpPr>
            <a:spLocks/>
          </p:cNvSpPr>
          <p:nvPr/>
        </p:nvSpPr>
        <p:spPr bwMode="auto">
          <a:xfrm>
            <a:off x="5992497" y="2739113"/>
            <a:ext cx="1897411" cy="399149"/>
          </a:xfrm>
          <a:custGeom>
            <a:avLst/>
            <a:gdLst>
              <a:gd name="T0" fmla="*/ 1021 w 1033"/>
              <a:gd name="T1" fmla="*/ 254 h 462"/>
              <a:gd name="T2" fmla="*/ 1021 w 1033"/>
              <a:gd name="T3" fmla="*/ 208 h 462"/>
              <a:gd name="T4" fmla="*/ 992 w 1033"/>
              <a:gd name="T5" fmla="*/ 180 h 462"/>
              <a:gd name="T6" fmla="*/ 969 w 1033"/>
              <a:gd name="T7" fmla="*/ 125 h 462"/>
              <a:gd name="T8" fmla="*/ 969 w 1033"/>
              <a:gd name="T9" fmla="*/ 32 h 462"/>
              <a:gd name="T10" fmla="*/ 937 w 1033"/>
              <a:gd name="T11" fmla="*/ 0 h 462"/>
              <a:gd name="T12" fmla="*/ 32 w 1033"/>
              <a:gd name="T13" fmla="*/ 0 h 462"/>
              <a:gd name="T14" fmla="*/ 0 w 1033"/>
              <a:gd name="T15" fmla="*/ 32 h 462"/>
              <a:gd name="T16" fmla="*/ 0 w 1033"/>
              <a:gd name="T17" fmla="*/ 122 h 462"/>
              <a:gd name="T18" fmla="*/ 23 w 1033"/>
              <a:gd name="T19" fmla="*/ 176 h 462"/>
              <a:gd name="T20" fmla="*/ 55 w 1033"/>
              <a:gd name="T21" fmla="*/ 208 h 462"/>
              <a:gd name="T22" fmla="*/ 55 w 1033"/>
              <a:gd name="T23" fmla="*/ 254 h 462"/>
              <a:gd name="T24" fmla="*/ 23 w 1033"/>
              <a:gd name="T25" fmla="*/ 286 h 462"/>
              <a:gd name="T26" fmla="*/ 0 w 1033"/>
              <a:gd name="T27" fmla="*/ 340 h 462"/>
              <a:gd name="T28" fmla="*/ 0 w 1033"/>
              <a:gd name="T29" fmla="*/ 430 h 462"/>
              <a:gd name="T30" fmla="*/ 32 w 1033"/>
              <a:gd name="T31" fmla="*/ 462 h 462"/>
              <a:gd name="T32" fmla="*/ 937 w 1033"/>
              <a:gd name="T33" fmla="*/ 462 h 462"/>
              <a:gd name="T34" fmla="*/ 969 w 1033"/>
              <a:gd name="T35" fmla="*/ 430 h 462"/>
              <a:gd name="T36" fmla="*/ 969 w 1033"/>
              <a:gd name="T37" fmla="*/ 337 h 462"/>
              <a:gd name="T38" fmla="*/ 992 w 1033"/>
              <a:gd name="T39" fmla="*/ 282 h 462"/>
              <a:gd name="T40" fmla="*/ 1021 w 1033"/>
              <a:gd name="T41" fmla="*/ 254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33" h="462">
                <a:moveTo>
                  <a:pt x="1021" y="254"/>
                </a:moveTo>
                <a:cubicBezTo>
                  <a:pt x="1033" y="241"/>
                  <a:pt x="1033" y="221"/>
                  <a:pt x="1021" y="208"/>
                </a:cubicBezTo>
                <a:cubicBezTo>
                  <a:pt x="992" y="180"/>
                  <a:pt x="992" y="180"/>
                  <a:pt x="992" y="180"/>
                </a:cubicBezTo>
                <a:cubicBezTo>
                  <a:pt x="979" y="167"/>
                  <a:pt x="969" y="142"/>
                  <a:pt x="969" y="125"/>
                </a:cubicBezTo>
                <a:cubicBezTo>
                  <a:pt x="969" y="32"/>
                  <a:pt x="969" y="32"/>
                  <a:pt x="969" y="32"/>
                </a:cubicBezTo>
                <a:cubicBezTo>
                  <a:pt x="969" y="14"/>
                  <a:pt x="955" y="0"/>
                  <a:pt x="937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39"/>
                  <a:pt x="10" y="164"/>
                  <a:pt x="23" y="176"/>
                </a:cubicBezTo>
                <a:cubicBezTo>
                  <a:pt x="55" y="208"/>
                  <a:pt x="55" y="208"/>
                  <a:pt x="55" y="208"/>
                </a:cubicBezTo>
                <a:cubicBezTo>
                  <a:pt x="67" y="221"/>
                  <a:pt x="67" y="241"/>
                  <a:pt x="55" y="254"/>
                </a:cubicBezTo>
                <a:cubicBezTo>
                  <a:pt x="23" y="286"/>
                  <a:pt x="23" y="286"/>
                  <a:pt x="23" y="286"/>
                </a:cubicBezTo>
                <a:cubicBezTo>
                  <a:pt x="10" y="298"/>
                  <a:pt x="0" y="323"/>
                  <a:pt x="0" y="340"/>
                </a:cubicBezTo>
                <a:cubicBezTo>
                  <a:pt x="0" y="430"/>
                  <a:pt x="0" y="430"/>
                  <a:pt x="0" y="430"/>
                </a:cubicBezTo>
                <a:cubicBezTo>
                  <a:pt x="0" y="448"/>
                  <a:pt x="14" y="462"/>
                  <a:pt x="32" y="462"/>
                </a:cubicBezTo>
                <a:cubicBezTo>
                  <a:pt x="937" y="462"/>
                  <a:pt x="937" y="462"/>
                  <a:pt x="937" y="462"/>
                </a:cubicBezTo>
                <a:cubicBezTo>
                  <a:pt x="955" y="462"/>
                  <a:pt x="969" y="448"/>
                  <a:pt x="969" y="430"/>
                </a:cubicBezTo>
                <a:cubicBezTo>
                  <a:pt x="969" y="337"/>
                  <a:pt x="969" y="337"/>
                  <a:pt x="969" y="337"/>
                </a:cubicBezTo>
                <a:cubicBezTo>
                  <a:pt x="969" y="319"/>
                  <a:pt x="979" y="295"/>
                  <a:pt x="992" y="282"/>
                </a:cubicBezTo>
                <a:lnTo>
                  <a:pt x="1021" y="254"/>
                </a:lnTo>
                <a:close/>
              </a:path>
            </a:pathLst>
          </a:custGeom>
          <a:solidFill>
            <a:srgbClr val="E94E52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IN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5" name="Graphique 8" descr="Stéthoscope">
            <a:extLst>
              <a:ext uri="{FF2B5EF4-FFF2-40B4-BE49-F238E27FC236}">
                <a16:creationId xmlns="" xmlns:a16="http://schemas.microsoft.com/office/drawing/2014/main" id="{39B9FA45-47A1-48D8-9259-1639778EC51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lum bright="100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501189" y="2763992"/>
            <a:ext cx="360000" cy="360000"/>
          </a:xfrm>
          <a:prstGeom prst="rect">
            <a:avLst/>
          </a:prstGeom>
        </p:spPr>
      </p:pic>
      <p:pic>
        <p:nvPicPr>
          <p:cNvPr id="106" name="Image 105">
            <a:extLst>
              <a:ext uri="{FF2B5EF4-FFF2-40B4-BE49-F238E27FC236}">
                <a16:creationId xmlns="" xmlns:a16="http://schemas.microsoft.com/office/drawing/2014/main" id="{9CF811DE-0730-47FC-BB11-E9917876F0B0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6012" y="2765183"/>
            <a:ext cx="343189" cy="344163"/>
          </a:xfrm>
          <a:prstGeom prst="rect">
            <a:avLst/>
          </a:prstGeom>
        </p:spPr>
      </p:pic>
      <p:sp>
        <p:nvSpPr>
          <p:cNvPr id="107" name="Freeform 15">
            <a:extLst>
              <a:ext uri="{FF2B5EF4-FFF2-40B4-BE49-F238E27FC236}">
                <a16:creationId xmlns="" xmlns:a16="http://schemas.microsoft.com/office/drawing/2014/main" id="{1434F7F1-4F20-4C10-A912-4F9722AADDE1}"/>
              </a:ext>
            </a:extLst>
          </p:cNvPr>
          <p:cNvSpPr>
            <a:spLocks/>
          </p:cNvSpPr>
          <p:nvPr/>
        </p:nvSpPr>
        <p:spPr bwMode="auto">
          <a:xfrm>
            <a:off x="8237150" y="2739113"/>
            <a:ext cx="1897411" cy="399149"/>
          </a:xfrm>
          <a:custGeom>
            <a:avLst/>
            <a:gdLst>
              <a:gd name="T0" fmla="*/ 1021 w 1033"/>
              <a:gd name="T1" fmla="*/ 254 h 462"/>
              <a:gd name="T2" fmla="*/ 1021 w 1033"/>
              <a:gd name="T3" fmla="*/ 208 h 462"/>
              <a:gd name="T4" fmla="*/ 992 w 1033"/>
              <a:gd name="T5" fmla="*/ 180 h 462"/>
              <a:gd name="T6" fmla="*/ 969 w 1033"/>
              <a:gd name="T7" fmla="*/ 125 h 462"/>
              <a:gd name="T8" fmla="*/ 969 w 1033"/>
              <a:gd name="T9" fmla="*/ 32 h 462"/>
              <a:gd name="T10" fmla="*/ 937 w 1033"/>
              <a:gd name="T11" fmla="*/ 0 h 462"/>
              <a:gd name="T12" fmla="*/ 32 w 1033"/>
              <a:gd name="T13" fmla="*/ 0 h 462"/>
              <a:gd name="T14" fmla="*/ 0 w 1033"/>
              <a:gd name="T15" fmla="*/ 32 h 462"/>
              <a:gd name="T16" fmla="*/ 0 w 1033"/>
              <a:gd name="T17" fmla="*/ 122 h 462"/>
              <a:gd name="T18" fmla="*/ 23 w 1033"/>
              <a:gd name="T19" fmla="*/ 176 h 462"/>
              <a:gd name="T20" fmla="*/ 55 w 1033"/>
              <a:gd name="T21" fmla="*/ 208 h 462"/>
              <a:gd name="T22" fmla="*/ 55 w 1033"/>
              <a:gd name="T23" fmla="*/ 254 h 462"/>
              <a:gd name="T24" fmla="*/ 23 w 1033"/>
              <a:gd name="T25" fmla="*/ 286 h 462"/>
              <a:gd name="T26" fmla="*/ 0 w 1033"/>
              <a:gd name="T27" fmla="*/ 340 h 462"/>
              <a:gd name="T28" fmla="*/ 0 w 1033"/>
              <a:gd name="T29" fmla="*/ 430 h 462"/>
              <a:gd name="T30" fmla="*/ 32 w 1033"/>
              <a:gd name="T31" fmla="*/ 462 h 462"/>
              <a:gd name="T32" fmla="*/ 937 w 1033"/>
              <a:gd name="T33" fmla="*/ 462 h 462"/>
              <a:gd name="T34" fmla="*/ 969 w 1033"/>
              <a:gd name="T35" fmla="*/ 430 h 462"/>
              <a:gd name="T36" fmla="*/ 969 w 1033"/>
              <a:gd name="T37" fmla="*/ 337 h 462"/>
              <a:gd name="T38" fmla="*/ 992 w 1033"/>
              <a:gd name="T39" fmla="*/ 282 h 462"/>
              <a:gd name="T40" fmla="*/ 1021 w 1033"/>
              <a:gd name="T41" fmla="*/ 254 h 4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1033" h="462">
                <a:moveTo>
                  <a:pt x="1021" y="254"/>
                </a:moveTo>
                <a:cubicBezTo>
                  <a:pt x="1033" y="241"/>
                  <a:pt x="1033" y="221"/>
                  <a:pt x="1021" y="208"/>
                </a:cubicBezTo>
                <a:cubicBezTo>
                  <a:pt x="992" y="180"/>
                  <a:pt x="992" y="180"/>
                  <a:pt x="992" y="180"/>
                </a:cubicBezTo>
                <a:cubicBezTo>
                  <a:pt x="979" y="167"/>
                  <a:pt x="969" y="142"/>
                  <a:pt x="969" y="125"/>
                </a:cubicBezTo>
                <a:cubicBezTo>
                  <a:pt x="969" y="32"/>
                  <a:pt x="969" y="32"/>
                  <a:pt x="969" y="32"/>
                </a:cubicBezTo>
                <a:cubicBezTo>
                  <a:pt x="969" y="14"/>
                  <a:pt x="955" y="0"/>
                  <a:pt x="937" y="0"/>
                </a:cubicBezTo>
                <a:cubicBezTo>
                  <a:pt x="32" y="0"/>
                  <a:pt x="32" y="0"/>
                  <a:pt x="32" y="0"/>
                </a:cubicBezTo>
                <a:cubicBezTo>
                  <a:pt x="14" y="0"/>
                  <a:pt x="0" y="14"/>
                  <a:pt x="0" y="32"/>
                </a:cubicBezTo>
                <a:cubicBezTo>
                  <a:pt x="0" y="122"/>
                  <a:pt x="0" y="122"/>
                  <a:pt x="0" y="122"/>
                </a:cubicBezTo>
                <a:cubicBezTo>
                  <a:pt x="0" y="139"/>
                  <a:pt x="10" y="164"/>
                  <a:pt x="23" y="176"/>
                </a:cubicBezTo>
                <a:cubicBezTo>
                  <a:pt x="55" y="208"/>
                  <a:pt x="55" y="208"/>
                  <a:pt x="55" y="208"/>
                </a:cubicBezTo>
                <a:cubicBezTo>
                  <a:pt x="67" y="221"/>
                  <a:pt x="67" y="241"/>
                  <a:pt x="55" y="254"/>
                </a:cubicBezTo>
                <a:cubicBezTo>
                  <a:pt x="23" y="286"/>
                  <a:pt x="23" y="286"/>
                  <a:pt x="23" y="286"/>
                </a:cubicBezTo>
                <a:cubicBezTo>
                  <a:pt x="10" y="298"/>
                  <a:pt x="0" y="323"/>
                  <a:pt x="0" y="340"/>
                </a:cubicBezTo>
                <a:cubicBezTo>
                  <a:pt x="0" y="430"/>
                  <a:pt x="0" y="430"/>
                  <a:pt x="0" y="430"/>
                </a:cubicBezTo>
                <a:cubicBezTo>
                  <a:pt x="0" y="448"/>
                  <a:pt x="14" y="462"/>
                  <a:pt x="32" y="462"/>
                </a:cubicBezTo>
                <a:cubicBezTo>
                  <a:pt x="937" y="462"/>
                  <a:pt x="937" y="462"/>
                  <a:pt x="937" y="462"/>
                </a:cubicBezTo>
                <a:cubicBezTo>
                  <a:pt x="955" y="462"/>
                  <a:pt x="969" y="448"/>
                  <a:pt x="969" y="430"/>
                </a:cubicBezTo>
                <a:cubicBezTo>
                  <a:pt x="969" y="337"/>
                  <a:pt x="969" y="337"/>
                  <a:pt x="969" y="337"/>
                </a:cubicBezTo>
                <a:cubicBezTo>
                  <a:pt x="969" y="319"/>
                  <a:pt x="979" y="295"/>
                  <a:pt x="992" y="282"/>
                </a:cubicBezTo>
                <a:lnTo>
                  <a:pt x="1021" y="254"/>
                </a:lnTo>
                <a:close/>
              </a:path>
            </a:pathLst>
          </a:custGeom>
          <a:solidFill>
            <a:schemeClr val="accent6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endParaRPr lang="en-IN" dirty="0">
              <a:solidFill>
                <a:schemeClr val="bg1"/>
              </a:soli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pic>
        <p:nvPicPr>
          <p:cNvPr id="109" name="Image 108">
            <a:extLst>
              <a:ext uri="{FF2B5EF4-FFF2-40B4-BE49-F238E27FC236}">
                <a16:creationId xmlns="" xmlns:a16="http://schemas.microsoft.com/office/drawing/2014/main" id="{9A60CA0B-AFB1-4D4C-9132-ACDBA6A82893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27680" y="2745520"/>
            <a:ext cx="399149" cy="399149"/>
          </a:xfrm>
          <a:prstGeom prst="rect">
            <a:avLst/>
          </a:prstGeom>
        </p:spPr>
      </p:pic>
      <p:cxnSp>
        <p:nvCxnSpPr>
          <p:cNvPr id="111" name="Connecteur droit 110">
            <a:extLst>
              <a:ext uri="{FF2B5EF4-FFF2-40B4-BE49-F238E27FC236}">
                <a16:creationId xmlns="" xmlns:a16="http://schemas.microsoft.com/office/drawing/2014/main" id="{7D13B5B6-0881-44AC-9C7C-E9AA7755932D}"/>
              </a:ext>
            </a:extLst>
          </p:cNvPr>
          <p:cNvCxnSpPr/>
          <p:nvPr/>
        </p:nvCxnSpPr>
        <p:spPr>
          <a:xfrm>
            <a:off x="2034782" y="2560727"/>
            <a:ext cx="1016054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</p:cxnSp>
      <p:cxnSp>
        <p:nvCxnSpPr>
          <p:cNvPr id="112" name="Connecteur droit 111">
            <a:extLst>
              <a:ext uri="{FF2B5EF4-FFF2-40B4-BE49-F238E27FC236}">
                <a16:creationId xmlns="" xmlns:a16="http://schemas.microsoft.com/office/drawing/2014/main" id="{15A07611-638B-471C-83D6-D78BD822C639}"/>
              </a:ext>
            </a:extLst>
          </p:cNvPr>
          <p:cNvCxnSpPr/>
          <p:nvPr/>
        </p:nvCxnSpPr>
        <p:spPr>
          <a:xfrm>
            <a:off x="4181464" y="2560727"/>
            <a:ext cx="1016054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</p:cxnSp>
      <p:cxnSp>
        <p:nvCxnSpPr>
          <p:cNvPr id="113" name="Connecteur droit 112">
            <a:extLst>
              <a:ext uri="{FF2B5EF4-FFF2-40B4-BE49-F238E27FC236}">
                <a16:creationId xmlns="" xmlns:a16="http://schemas.microsoft.com/office/drawing/2014/main" id="{131F6C88-396F-4969-AF95-1B3EFB61897A}"/>
              </a:ext>
            </a:extLst>
          </p:cNvPr>
          <p:cNvCxnSpPr/>
          <p:nvPr/>
        </p:nvCxnSpPr>
        <p:spPr>
          <a:xfrm>
            <a:off x="6401309" y="2549302"/>
            <a:ext cx="1016054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</p:cxnSp>
      <p:cxnSp>
        <p:nvCxnSpPr>
          <p:cNvPr id="114" name="Connecteur droit 113">
            <a:extLst>
              <a:ext uri="{FF2B5EF4-FFF2-40B4-BE49-F238E27FC236}">
                <a16:creationId xmlns="" xmlns:a16="http://schemas.microsoft.com/office/drawing/2014/main" id="{DA7C4567-99B7-4952-855E-9EE404470D31}"/>
              </a:ext>
            </a:extLst>
          </p:cNvPr>
          <p:cNvCxnSpPr/>
          <p:nvPr/>
        </p:nvCxnSpPr>
        <p:spPr>
          <a:xfrm>
            <a:off x="8565634" y="2530830"/>
            <a:ext cx="1016054" cy="0"/>
          </a:xfrm>
          <a:prstGeom prst="line">
            <a:avLst/>
          </a:prstGeom>
          <a:noFill/>
          <a:ln w="6350" cap="flat" cmpd="sng" algn="ctr">
            <a:solidFill>
              <a:srgbClr val="FFFFFF">
                <a:lumMod val="85000"/>
              </a:srgbClr>
            </a:solidFill>
            <a:prstDash val="solid"/>
            <a:miter lim="800000"/>
          </a:ln>
          <a:effectLst/>
        </p:spPr>
      </p:cxnSp>
      <p:sp>
        <p:nvSpPr>
          <p:cNvPr id="42" name="ZoneTexte 41">
            <a:extLst>
              <a:ext uri="{FF2B5EF4-FFF2-40B4-BE49-F238E27FC236}">
                <a16:creationId xmlns="" xmlns:a16="http://schemas.microsoft.com/office/drawing/2014/main" id="{25A47A0B-811D-42BC-96B0-E80E8DE95E38}"/>
              </a:ext>
            </a:extLst>
          </p:cNvPr>
          <p:cNvSpPr txBox="1"/>
          <p:nvPr/>
        </p:nvSpPr>
        <p:spPr>
          <a:xfrm>
            <a:off x="3772319" y="5638436"/>
            <a:ext cx="2144009" cy="904754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36000" tIns="0" rIns="36000" bIns="0" rtlCol="0">
            <a:noAutofit/>
          </a:bodyPr>
          <a:lstStyle/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Segoe UI"/>
                <a:ea typeface="Calibri" panose="020F0502020204030204" pitchFamily="34" charset="0"/>
              </a:rPr>
              <a:t>Prescription d’arrêts de travail dans le cadre dérogatoire prévu par l’ordonnance du 1</a:t>
            </a:r>
            <a:r>
              <a:rPr lang="fr-FR" sz="1000" baseline="30000" dirty="0" smtClean="0">
                <a:solidFill>
                  <a:schemeClr val="bg1">
                    <a:lumMod val="50000"/>
                  </a:schemeClr>
                </a:solidFill>
                <a:latin typeface="Segoe UI"/>
                <a:ea typeface="Calibri" panose="020F0502020204030204" pitchFamily="34" charset="0"/>
              </a:rPr>
              <a:t>er</a:t>
            </a: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Segoe UI"/>
                <a:ea typeface="Calibri" panose="020F0502020204030204" pitchFamily="34" charset="0"/>
              </a:rPr>
              <a:t> avril et les décrets ...</a:t>
            </a: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Segoe UI"/>
                <a:ea typeface="Calibri" panose="020F0502020204030204" pitchFamily="34" charset="0"/>
              </a:rPr>
              <a:t>Prescription de tests de dépistage  suivant protocoles en vigueur</a:t>
            </a:r>
          </a:p>
          <a:p>
            <a:pPr fontAlgn="ctr"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bg1">
                  <a:lumMod val="50000"/>
                </a:schemeClr>
              </a:solidFill>
              <a:latin typeface="Segoe UI"/>
              <a:ea typeface="Calibri" panose="020F0502020204030204" pitchFamily="34" charset="0"/>
            </a:endParaRPr>
          </a:p>
          <a:p>
            <a:pPr marL="171450" indent="-171450" fontAlgn="ctr">
              <a:buSzPts val="1000"/>
              <a:buFontTx/>
              <a:buChar char="-"/>
              <a:tabLst>
                <a:tab pos="457200" algn="l"/>
              </a:tabLst>
            </a:pPr>
            <a:endParaRPr lang="fr-FR" sz="1000" dirty="0">
              <a:solidFill>
                <a:schemeClr val="bg1">
                  <a:lumMod val="50000"/>
                </a:schemeClr>
              </a:solidFill>
              <a:latin typeface="Segoe UI"/>
              <a:ea typeface="Calibri" panose="020F0502020204030204" pitchFamily="34" charset="0"/>
            </a:endParaRPr>
          </a:p>
          <a:p>
            <a:pPr marL="342900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fr-FR" sz="1000" dirty="0">
              <a:solidFill>
                <a:schemeClr val="bg1">
                  <a:lumMod val="50000"/>
                </a:schemeClr>
              </a:solidFill>
              <a:latin typeface="Segoe UI"/>
              <a:ea typeface="Calibri" panose="020F0502020204030204" pitchFamily="34" charset="0"/>
            </a:endParaRPr>
          </a:p>
        </p:txBody>
      </p:sp>
      <p:sp>
        <p:nvSpPr>
          <p:cNvPr id="46" name="ZoneTexte 45">
            <a:extLst>
              <a:ext uri="{FF2B5EF4-FFF2-40B4-BE49-F238E27FC236}">
                <a16:creationId xmlns="" xmlns:a16="http://schemas.microsoft.com/office/drawing/2014/main" id="{25A47A0B-811D-42BC-96B0-E80E8DE95E38}"/>
              </a:ext>
            </a:extLst>
          </p:cNvPr>
          <p:cNvSpPr txBox="1"/>
          <p:nvPr/>
        </p:nvSpPr>
        <p:spPr>
          <a:xfrm>
            <a:off x="9995365" y="4917455"/>
            <a:ext cx="1872760" cy="35618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36000" tIns="0" rIns="36000" bIns="0" rtlCol="0">
            <a:noAutofit/>
          </a:bodyPr>
          <a:lstStyle/>
          <a:p>
            <a:pPr fontAlgn="ctr">
              <a:buSzPts val="1000"/>
              <a:tabLst>
                <a:tab pos="457200" algn="l"/>
              </a:tabLst>
            </a:pPr>
            <a:endParaRPr lang="fr-FR" sz="900" dirty="0">
              <a:solidFill>
                <a:srgbClr val="00B050"/>
              </a:solidFill>
              <a:latin typeface="Segoe UI"/>
              <a:ea typeface="Calibri" panose="020F0502020204030204" pitchFamily="34" charset="0"/>
            </a:endParaRPr>
          </a:p>
          <a:p>
            <a:pPr marL="171450" indent="-171450" fontAlgn="ctr">
              <a:buSzPts val="1000"/>
              <a:buFontTx/>
              <a:buChar char="-"/>
              <a:tabLst>
                <a:tab pos="457200" algn="l"/>
              </a:tabLst>
            </a:pPr>
            <a:endParaRPr lang="fr-FR" sz="900" dirty="0">
              <a:solidFill>
                <a:srgbClr val="FF0000"/>
              </a:solidFill>
              <a:latin typeface="Segoe UI"/>
              <a:ea typeface="Calibri" panose="020F0502020204030204" pitchFamily="34" charset="0"/>
            </a:endParaRPr>
          </a:p>
          <a:p>
            <a:pPr marL="342900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fr-FR" sz="900" dirty="0">
              <a:solidFill>
                <a:srgbClr val="FF0000"/>
              </a:solidFill>
              <a:latin typeface="Segoe UI"/>
              <a:ea typeface="Calibri" panose="020F0502020204030204" pitchFamily="34" charset="0"/>
            </a:endParaRPr>
          </a:p>
        </p:txBody>
      </p:sp>
      <p:sp>
        <p:nvSpPr>
          <p:cNvPr id="45" name="ZoneTexte 44">
            <a:extLst>
              <a:ext uri="{FF2B5EF4-FFF2-40B4-BE49-F238E27FC236}">
                <a16:creationId xmlns="" xmlns:a16="http://schemas.microsoft.com/office/drawing/2014/main" id="{C4337AFD-39D3-42F9-9876-94D76CFA6614}"/>
              </a:ext>
            </a:extLst>
          </p:cNvPr>
          <p:cNvSpPr txBox="1"/>
          <p:nvPr/>
        </p:nvSpPr>
        <p:spPr>
          <a:xfrm>
            <a:off x="1587559" y="1310536"/>
            <a:ext cx="1800000" cy="1290549"/>
          </a:xfrm>
          <a:prstGeom prst="rect">
            <a:avLst/>
          </a:prstGeom>
          <a:noFill/>
          <a:ln w="6350">
            <a:noFill/>
          </a:ln>
          <a:effectLst/>
        </p:spPr>
        <p:txBody>
          <a:bodyPr vert="horz" wrap="square" lIns="36000" tIns="0" rIns="36000" bIns="0" rtlCol="0" anchor="t">
            <a:noAutofit/>
          </a:bodyPr>
          <a:lstStyle>
            <a:defPPr>
              <a:defRPr lang="fr-FR"/>
            </a:defPPr>
            <a:lvl1pPr algn="ctr">
              <a:spcBef>
                <a:spcPts val="0"/>
              </a:spcBef>
              <a:defRPr sz="1200" b="1">
                <a:solidFill>
                  <a:schemeClr val="accent1"/>
                </a:solidFill>
              </a:defRPr>
            </a:lvl1pPr>
          </a:lstStyle>
          <a:p>
            <a:pPr>
              <a:defRPr/>
            </a:pPr>
            <a:r>
              <a:rPr lang="fr-FR" dirty="0">
                <a:solidFill>
                  <a:schemeClr val="accent6"/>
                </a:solidFill>
                <a:latin typeface="Segoe UI"/>
              </a:rPr>
              <a:t>AIDER TOUTES LES ENTREPRISES A EVALUER LES RISQUES PROFESSIONNELS EN VUE DE LEUR PLAN D’ACTIONS</a:t>
            </a:r>
          </a:p>
        </p:txBody>
      </p:sp>
      <p:sp>
        <p:nvSpPr>
          <p:cNvPr id="48" name="ZoneTexte 47">
            <a:extLst>
              <a:ext uri="{FF2B5EF4-FFF2-40B4-BE49-F238E27FC236}">
                <a16:creationId xmlns="" xmlns:a16="http://schemas.microsoft.com/office/drawing/2014/main" id="{BA0F562D-9300-4058-987B-1B6F2AB91DA1}"/>
              </a:ext>
            </a:extLst>
          </p:cNvPr>
          <p:cNvSpPr txBox="1"/>
          <p:nvPr/>
        </p:nvSpPr>
        <p:spPr>
          <a:xfrm>
            <a:off x="1555891" y="3380875"/>
            <a:ext cx="2016966" cy="3047630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36000" tIns="0" rIns="36000" bIns="0" rtlCol="0">
            <a:noAutofit/>
          </a:bodyPr>
          <a:lstStyle/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Aide à l’évaluation des risques en lien avec l’épidémie de </a:t>
            </a:r>
            <a:r>
              <a:rPr lang="fr-FR" sz="1000" dirty="0" err="1" smtClean="0">
                <a:solidFill>
                  <a:schemeClr val="accent6"/>
                </a:solidFill>
                <a:latin typeface="Segoe UI"/>
              </a:rPr>
              <a:t>Covid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 19 et conseil pour travailler en sécurité en fonction du secteur et de la réalité des postes</a:t>
            </a:r>
          </a:p>
          <a:p>
            <a:pPr fontAlgn="ctr">
              <a:buSzPts val="1000"/>
              <a:tabLst>
                <a:tab pos="457200" algn="l"/>
              </a:tabLst>
            </a:pP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Actualisation de la «</a:t>
            </a:r>
            <a:r>
              <a:rPr lang="fr-FR" sz="1000" dirty="0">
                <a:solidFill>
                  <a:schemeClr val="accent6"/>
                </a:solidFill>
                <a:latin typeface="Segoe UI"/>
              </a:rPr>
              <a:t> fiche d’entreprise »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avec les risques en lien avec </a:t>
            </a:r>
            <a:r>
              <a:rPr lang="fr-FR" sz="1000" smtClean="0">
                <a:solidFill>
                  <a:schemeClr val="accent6"/>
                </a:solidFill>
                <a:latin typeface="Segoe UI"/>
              </a:rPr>
              <a:t>l’épidémie  de Covid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- 19 – Elément de preuve d’une recherche de solutions pour une reprise d’activité sécurisée avec l’appui du SSTI</a:t>
            </a:r>
          </a:p>
          <a:p>
            <a:pPr fontAlgn="ctr">
              <a:buSzPts val="1000"/>
              <a:tabLst>
                <a:tab pos="457200" algn="l"/>
              </a:tabLst>
            </a:pPr>
            <a:endParaRPr lang="fr-FR" sz="500" dirty="0">
              <a:solidFill>
                <a:schemeClr val="accent6"/>
              </a:solidFill>
            </a:endParaRPr>
          </a:p>
          <a:p>
            <a:pPr fontAlgn="ctr">
              <a:buSzPts val="1000"/>
              <a:tabLst>
                <a:tab pos="457200" algn="l"/>
              </a:tabLst>
            </a:pPr>
            <a:endParaRPr lang="fr-FR" sz="500" dirty="0">
              <a:solidFill>
                <a:schemeClr val="accent6"/>
              </a:solidFill>
              <a:latin typeface="Segoe UI"/>
            </a:endParaRPr>
          </a:p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>
                <a:solidFill>
                  <a:schemeClr val="accent6"/>
                </a:solidFill>
                <a:latin typeface="Segoe UI"/>
              </a:rPr>
              <a:t>En fonction des besoins exprimés, des compléments d’accompagnement collectifs ou individuels, ou une orientation pour finaliser le DUERP et lancer un plan </a:t>
            </a:r>
            <a:r>
              <a:rPr lang="fr-FR" sz="1000" dirty="0" smtClean="0">
                <a:solidFill>
                  <a:schemeClr val="accent6"/>
                </a:solidFill>
                <a:latin typeface="Segoe UI"/>
              </a:rPr>
              <a:t>d’actions lié à la reprise d’activité</a:t>
            </a:r>
            <a:endParaRPr lang="fr-FR" sz="1000" dirty="0">
              <a:solidFill>
                <a:schemeClr val="accent6"/>
              </a:solidFill>
              <a:latin typeface="Segoe UI"/>
            </a:endParaRPr>
          </a:p>
          <a:p>
            <a:r>
              <a:rPr lang="fr-FR" sz="1000" dirty="0">
                <a:solidFill>
                  <a:schemeClr val="accent6"/>
                </a:solidFill>
                <a:latin typeface="Segoe UI"/>
                <a:ea typeface="Calibri" panose="020F0502020204030204" pitchFamily="34" charset="0"/>
              </a:rPr>
              <a:t> </a:t>
            </a:r>
          </a:p>
        </p:txBody>
      </p:sp>
      <p:pic>
        <p:nvPicPr>
          <p:cNvPr id="49" name="Image 48">
            <a:extLst>
              <a:ext uri="{FF2B5EF4-FFF2-40B4-BE49-F238E27FC236}">
                <a16:creationId xmlns="" xmlns:a16="http://schemas.microsoft.com/office/drawing/2014/main" id="{287DCBEC-AC7E-4111-9D81-11B5717148E3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BEBA8EAE-BF5A-486C-A8C5-ECC9F3942E4B}">
                <a14:imgProps xmlns:a14="http://schemas.microsoft.com/office/drawing/2010/main">
                  <a14:imgLayer r:embed="rId18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11449" y="2758364"/>
            <a:ext cx="360000" cy="360000"/>
          </a:xfrm>
          <a:prstGeom prst="rect">
            <a:avLst/>
          </a:prstGeom>
        </p:spPr>
      </p:pic>
      <p:sp>
        <p:nvSpPr>
          <p:cNvPr id="50" name="ZoneTexte 49">
            <a:extLst>
              <a:ext uri="{FF2B5EF4-FFF2-40B4-BE49-F238E27FC236}">
                <a16:creationId xmlns="" xmlns:a16="http://schemas.microsoft.com/office/drawing/2014/main" id="{25A47A0B-811D-42BC-96B0-E80E8DE95E38}"/>
              </a:ext>
            </a:extLst>
          </p:cNvPr>
          <p:cNvSpPr txBox="1"/>
          <p:nvPr/>
        </p:nvSpPr>
        <p:spPr>
          <a:xfrm>
            <a:off x="8215547" y="3850857"/>
            <a:ext cx="2214037" cy="367345"/>
          </a:xfrm>
          <a:prstGeom prst="rect">
            <a:avLst/>
          </a:prstGeom>
          <a:noFill/>
          <a:ln w="6350">
            <a:noFill/>
          </a:ln>
        </p:spPr>
        <p:txBody>
          <a:bodyPr vert="horz" wrap="square" lIns="36000" tIns="0" rIns="36000" bIns="0" rtlCol="0">
            <a:noAutofit/>
          </a:bodyPr>
          <a:lstStyle/>
          <a:p>
            <a:pPr fontAlgn="ctr">
              <a:buSzPts val="1000"/>
              <a:tabLst>
                <a:tab pos="457200" algn="l"/>
              </a:tabLst>
            </a:pPr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Segoe UI"/>
                <a:ea typeface="Calibri" panose="020F0502020204030204" pitchFamily="34" charset="0"/>
              </a:rPr>
              <a:t>Prescription d’arrêts de travail pendant la durée de la crise sanitaire</a:t>
            </a:r>
            <a:endParaRPr lang="fr-FR" sz="1000" dirty="0">
              <a:solidFill>
                <a:schemeClr val="bg1">
                  <a:lumMod val="50000"/>
                </a:schemeClr>
              </a:solidFill>
              <a:latin typeface="Segoe UI"/>
              <a:ea typeface="Calibri" panose="020F0502020204030204" pitchFamily="34" charset="0"/>
            </a:endParaRPr>
          </a:p>
          <a:p>
            <a:pPr marL="171450" indent="-171450" fontAlgn="ctr">
              <a:buSzPts val="1000"/>
              <a:buFontTx/>
              <a:buChar char="-"/>
              <a:tabLst>
                <a:tab pos="457200" algn="l"/>
              </a:tabLst>
            </a:pPr>
            <a:endParaRPr lang="fr-FR" sz="1000" dirty="0">
              <a:solidFill>
                <a:srgbClr val="FF0000"/>
              </a:solidFill>
              <a:latin typeface="Segoe UI"/>
              <a:ea typeface="Calibri" panose="020F0502020204030204" pitchFamily="34" charset="0"/>
            </a:endParaRPr>
          </a:p>
          <a:p>
            <a:pPr marL="342900" indent="-342900" fontAlgn="ctr"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endParaRPr lang="fr-FR" sz="1000" dirty="0">
              <a:solidFill>
                <a:srgbClr val="FF0000"/>
              </a:solidFill>
              <a:latin typeface="Segoe UI"/>
              <a:ea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 rot="16200000">
            <a:off x="-1197641" y="4632217"/>
            <a:ext cx="3608552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fr-FR" sz="20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Services spécifiques </a:t>
            </a:r>
          </a:p>
          <a:p>
            <a:pPr algn="ctr"/>
            <a:r>
              <a:rPr lang="fr-FR" sz="2000" b="0" cap="none" spc="0" dirty="0" smtClean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dans la période de crise sanitaire</a:t>
            </a:r>
            <a:endParaRPr lang="fr-FR" sz="2000" b="0" cap="none" spc="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373963761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0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10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0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1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8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9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9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0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0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0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9" fill="hold">
                      <p:stCondLst>
                        <p:cond delay="indefinite"/>
                      </p:stCondLst>
                      <p:childTnLst>
                        <p:par>
                          <p:cTn id="70" fill="hold">
                            <p:stCondLst>
                              <p:cond delay="0"/>
                            </p:stCondLst>
                            <p:childTnLst>
                              <p:par>
                                <p:cTn id="7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4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5" dur="1000" fill="hold"/>
                                        <p:tgtEl>
                                          <p:spTgt spid="9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10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9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0" dur="1000" fill="hold"/>
                                        <p:tgtEl>
                                          <p:spTgt spid="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1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1000"/>
                                        <p:tgtEl>
                                          <p:spTgt spid="10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4" dur="1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5" dur="10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86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8" dur="10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9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0" dur="1000" fill="hold"/>
                                        <p:tgtEl>
                                          <p:spTgt spid="10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1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1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9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0" dur="10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1" presetID="42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0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04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5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6" fill="hold">
                      <p:stCondLst>
                        <p:cond delay="indefinite"/>
                      </p:stCondLst>
                      <p:childTnLst>
                        <p:par>
                          <p:cTn id="107" fill="hold">
                            <p:stCondLst>
                              <p:cond delay="0"/>
                            </p:stCondLst>
                            <p:childTnLst>
                              <p:par>
                                <p:cTn id="108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0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1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2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6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7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8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0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1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2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3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5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26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7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3" grpId="0"/>
      <p:bldP spid="86" grpId="0"/>
      <p:bldP spid="90" grpId="0"/>
      <p:bldP spid="91" grpId="0"/>
      <p:bldP spid="95" grpId="0"/>
      <p:bldP spid="97" grpId="0"/>
      <p:bldP spid="100" grpId="0" animBg="1"/>
      <p:bldP spid="101" grpId="0" animBg="1"/>
      <p:bldP spid="102" grpId="0" animBg="1"/>
      <p:bldP spid="107" grpId="0" animBg="1"/>
      <p:bldP spid="42" grpId="0"/>
      <p:bldP spid="46" grpId="0"/>
      <p:bldP spid="45" grpId="0"/>
      <p:bldP spid="48" grpId="0"/>
      <p:bldP spid="50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Espace réservé du texte 1"/>
          <p:cNvSpPr>
            <a:spLocks noGrp="1"/>
          </p:cNvSpPr>
          <p:nvPr>
            <p:ph type="body" sz="quarter" idx="10"/>
          </p:nvPr>
        </p:nvSpPr>
        <p:spPr bwMode="auto">
          <a:xfrm>
            <a:off x="91440" y="2289429"/>
            <a:ext cx="12192000" cy="52546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fr-FR" altLang="fr-FR" sz="5400" dirty="0" smtClean="0">
                <a:latin typeface="Arial  "/>
              </a:rPr>
              <a:t>Les grandes lignes d’une démarche d’accompagnement cohérente des entreprises par les SSTI</a:t>
            </a:r>
            <a:endParaRPr lang="fr-FR" altLang="fr-FR" sz="5400" dirty="0">
              <a:latin typeface="Arial  "/>
            </a:endParaRPr>
          </a:p>
        </p:txBody>
      </p:sp>
    </p:spTree>
    <p:extLst>
      <p:ext uri="{BB962C8B-B14F-4D97-AF65-F5344CB8AC3E}">
        <p14:creationId xmlns:p14="http://schemas.microsoft.com/office/powerpoint/2010/main" val="2550624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828446" y="396069"/>
            <a:ext cx="9463870" cy="612775"/>
          </a:xfrm>
        </p:spPr>
        <p:txBody>
          <a:bodyPr/>
          <a:lstStyle/>
          <a:p>
            <a:r>
              <a:rPr lang="fr-FR" b="1" dirty="0" smtClean="0">
                <a:solidFill>
                  <a:srgbClr val="C00000"/>
                </a:solidFill>
              </a:rPr>
              <a:t>PREPARER L’ACCOMPAGNEMENT </a:t>
            </a:r>
            <a:endParaRPr lang="fr-FR" b="1" dirty="0">
              <a:solidFill>
                <a:srgbClr val="C00000"/>
              </a:solidFill>
            </a:endParaRPr>
          </a:p>
        </p:txBody>
      </p:sp>
      <p:grpSp>
        <p:nvGrpSpPr>
          <p:cNvPr id="3" name="Groupe 2"/>
          <p:cNvGrpSpPr/>
          <p:nvPr/>
        </p:nvGrpSpPr>
        <p:grpSpPr>
          <a:xfrm>
            <a:off x="1492201" y="987579"/>
            <a:ext cx="9441712" cy="5632592"/>
            <a:chOff x="1492201" y="987579"/>
            <a:chExt cx="9441712" cy="5632592"/>
          </a:xfrm>
        </p:grpSpPr>
        <p:sp>
          <p:nvSpPr>
            <p:cNvPr id="6" name="Flèche droite 5"/>
            <p:cNvSpPr/>
            <p:nvPr/>
          </p:nvSpPr>
          <p:spPr>
            <a:xfrm>
              <a:off x="1492201" y="2409677"/>
              <a:ext cx="9441712" cy="140349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 smtClean="0"/>
                <a:t>IDENDIFIER LES </a:t>
              </a:r>
              <a:r>
                <a:rPr lang="fr-FR" dirty="0"/>
                <a:t>ENTREPRISES A ACCOMPAGNER DANS UNE DEMARCHE </a:t>
              </a:r>
              <a:r>
                <a:rPr lang="fr-FR" dirty="0" smtClean="0"/>
                <a:t>PROACTIVE </a:t>
              </a:r>
            </a:p>
            <a:p>
              <a:pPr algn="ctr"/>
              <a:r>
                <a:rPr lang="fr-FR" dirty="0" smtClean="0"/>
                <a:t>PRIORISATION POSSIBLE PAR CODE NAF </a:t>
              </a:r>
              <a:endParaRPr lang="fr-FR" dirty="0"/>
            </a:p>
          </p:txBody>
        </p:sp>
        <p:sp>
          <p:nvSpPr>
            <p:cNvPr id="14" name="Flèche droite 13"/>
            <p:cNvSpPr/>
            <p:nvPr/>
          </p:nvSpPr>
          <p:spPr>
            <a:xfrm>
              <a:off x="1492201" y="3813175"/>
              <a:ext cx="9441712" cy="140349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indent="450215" algn="ctr">
                <a:lnSpc>
                  <a:spcPct val="107000"/>
                </a:lnSpc>
                <a:spcBef>
                  <a:spcPts val="500"/>
                </a:spcBef>
                <a:spcAft>
                  <a:spcPts val="800"/>
                </a:spcAft>
              </a:pPr>
              <a:r>
                <a:rPr lang="fr-FR" dirty="0"/>
                <a:t>ANALYSER LA LISTE DES SALARIES </a:t>
              </a:r>
              <a:r>
                <a:rPr lang="fr-FR" dirty="0" smtClean="0"/>
                <a:t>DES </a:t>
              </a:r>
              <a:r>
                <a:rPr lang="fr-FR" dirty="0"/>
                <a:t>ENTREPRISES </a:t>
              </a:r>
              <a:r>
                <a:rPr lang="fr-FR" dirty="0" smtClean="0"/>
                <a:t>ACCOMPAGNEES </a:t>
              </a:r>
              <a:r>
                <a:rPr lang="fr-FR" dirty="0"/>
                <a:t>SUCEPTIBLES DE REPRENDRE </a:t>
              </a:r>
              <a:r>
                <a:rPr lang="fr-FR" dirty="0" smtClean="0"/>
                <a:t>(vulnérabilité</a:t>
              </a:r>
              <a:r>
                <a:rPr lang="fr-FR" dirty="0"/>
                <a:t>, antécédents, nature des postes…)</a:t>
              </a:r>
            </a:p>
          </p:txBody>
        </p:sp>
        <p:sp>
          <p:nvSpPr>
            <p:cNvPr id="15" name="Flèche droite 14"/>
            <p:cNvSpPr/>
            <p:nvPr/>
          </p:nvSpPr>
          <p:spPr>
            <a:xfrm>
              <a:off x="1492201" y="5216673"/>
              <a:ext cx="9441712" cy="140349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 smtClean="0"/>
                <a:t>PRENDRE CONNAISSANCE DES GUIDES SECTORIELS VALIDES PAR L’ETAT OU LES BRANCHES</a:t>
              </a:r>
              <a:endParaRPr lang="fr-FR" dirty="0"/>
            </a:p>
          </p:txBody>
        </p:sp>
        <p:sp>
          <p:nvSpPr>
            <p:cNvPr id="16" name="Flèche droite 15"/>
            <p:cNvSpPr/>
            <p:nvPr/>
          </p:nvSpPr>
          <p:spPr>
            <a:xfrm>
              <a:off x="1492201" y="987579"/>
              <a:ext cx="9441712" cy="1403498"/>
            </a:xfrm>
            <a:prstGeom prst="righ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FR" dirty="0" smtClean="0"/>
                <a:t>ADAPTER LE PLAN D’ACTION GENERAL DU SERVICE EN LIEN AVEC LES INSTANCES DU SSTI </a:t>
              </a:r>
              <a:endParaRPr lang="fr-FR" dirty="0"/>
            </a:p>
          </p:txBody>
        </p:sp>
      </p:grpSp>
    </p:spTree>
    <p:extLst>
      <p:ext uri="{BB962C8B-B14F-4D97-AF65-F5344CB8AC3E}">
        <p14:creationId xmlns:p14="http://schemas.microsoft.com/office/powerpoint/2010/main" val="36988050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828446" y="396069"/>
            <a:ext cx="9463870" cy="612775"/>
          </a:xfrm>
        </p:spPr>
        <p:txBody>
          <a:bodyPr/>
          <a:lstStyle/>
          <a:p>
            <a:r>
              <a:rPr lang="fr-FR" b="1" dirty="0" smtClean="0">
                <a:solidFill>
                  <a:srgbClr val="C00000"/>
                </a:solidFill>
              </a:rPr>
              <a:t>REALISER L’ACCOMPAGNEMENT COLLECTIF </a:t>
            </a:r>
            <a:endParaRPr lang="fr-FR" b="1" dirty="0">
              <a:solidFill>
                <a:srgbClr val="C00000"/>
              </a:solidFill>
            </a:endParaRPr>
          </a:p>
        </p:txBody>
      </p:sp>
      <p:sp>
        <p:nvSpPr>
          <p:cNvPr id="6" name="Flèche droite 5"/>
          <p:cNvSpPr/>
          <p:nvPr/>
        </p:nvSpPr>
        <p:spPr>
          <a:xfrm>
            <a:off x="1492201" y="2477391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AIDER L’ENTREPRISE A EVALUER LE RISQUE COVID </a:t>
            </a:r>
            <a:r>
              <a:rPr lang="fr-FR" u="sng" dirty="0" smtClean="0"/>
              <a:t>AVANT TOUS LES AUTRES</a:t>
            </a:r>
            <a:endParaRPr lang="fr-FR" u="sng" dirty="0"/>
          </a:p>
        </p:txBody>
      </p:sp>
      <p:sp>
        <p:nvSpPr>
          <p:cNvPr id="14" name="Flèche droite 13"/>
          <p:cNvSpPr/>
          <p:nvPr/>
        </p:nvSpPr>
        <p:spPr>
          <a:xfrm>
            <a:off x="1492201" y="3551278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1" indent="450215" algn="ctr">
              <a:lnSpc>
                <a:spcPct val="107000"/>
              </a:lnSpc>
              <a:spcBef>
                <a:spcPts val="500"/>
              </a:spcBef>
              <a:spcAft>
                <a:spcPts val="800"/>
              </a:spcAft>
            </a:pPr>
            <a:r>
              <a:rPr lang="fr-FR" dirty="0" smtClean="0"/>
              <a:t>CONSEILLER A PARTIR D’UN KIT DE SOLUTIONS ADAPTABLE EN FONCTION DU SECTEUR</a:t>
            </a:r>
            <a:r>
              <a:rPr lang="fr-FR" dirty="0"/>
              <a:t> </a:t>
            </a:r>
            <a:r>
              <a:rPr lang="fr-FR" dirty="0" smtClean="0"/>
              <a:t>(organisation, préventions, protections,…)</a:t>
            </a:r>
            <a:endParaRPr lang="fr-FR" dirty="0"/>
          </a:p>
        </p:txBody>
      </p:sp>
      <p:sp>
        <p:nvSpPr>
          <p:cNvPr id="15" name="Flèche droite 14"/>
          <p:cNvSpPr/>
          <p:nvPr/>
        </p:nvSpPr>
        <p:spPr>
          <a:xfrm>
            <a:off x="1492201" y="4625165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ACTUALISER  LA FICHE D’ENTREPRISE </a:t>
            </a:r>
            <a:endParaRPr lang="fr-FR" dirty="0"/>
          </a:p>
        </p:txBody>
      </p:sp>
      <p:sp>
        <p:nvSpPr>
          <p:cNvPr id="16" name="Flèche droite 15"/>
          <p:cNvSpPr/>
          <p:nvPr/>
        </p:nvSpPr>
        <p:spPr>
          <a:xfrm>
            <a:off x="1492201" y="5699052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AIDER A ACTUALISER LE DOCUMENT UNIQUE ET A PREPARER LE PLAN DE  REPRISE D’ACTIVITE</a:t>
            </a:r>
            <a:endParaRPr lang="fr-FR" dirty="0"/>
          </a:p>
        </p:txBody>
      </p:sp>
      <p:sp>
        <p:nvSpPr>
          <p:cNvPr id="7" name="Flèche droite 6"/>
          <p:cNvSpPr/>
          <p:nvPr/>
        </p:nvSpPr>
        <p:spPr>
          <a:xfrm>
            <a:off x="1492201" y="1403504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INFORMER SUR LE VIRUS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43997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828446" y="396069"/>
            <a:ext cx="9463870" cy="612775"/>
          </a:xfrm>
        </p:spPr>
        <p:txBody>
          <a:bodyPr/>
          <a:lstStyle/>
          <a:p>
            <a:r>
              <a:rPr lang="fr-FR" b="1" dirty="0" smtClean="0">
                <a:solidFill>
                  <a:srgbClr val="C00000"/>
                </a:solidFill>
              </a:rPr>
              <a:t>REALISER L’ACCOMPAGNEMENT INDIVIDUEL</a:t>
            </a:r>
            <a:endParaRPr lang="fr-FR" b="1" dirty="0">
              <a:solidFill>
                <a:srgbClr val="C00000"/>
              </a:solidFill>
            </a:endParaRPr>
          </a:p>
        </p:txBody>
      </p:sp>
      <p:sp>
        <p:nvSpPr>
          <p:cNvPr id="6" name="Flèche droite 5"/>
          <p:cNvSpPr/>
          <p:nvPr/>
        </p:nvSpPr>
        <p:spPr>
          <a:xfrm>
            <a:off x="1077532" y="1164273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CONSEILLER L’ENTREPRISE SUR LA CONDUITE A TENIR EN CAS DE SUSPICION DE COVID</a:t>
            </a:r>
            <a:endParaRPr lang="fr-FR" dirty="0"/>
          </a:p>
        </p:txBody>
      </p:sp>
      <p:sp>
        <p:nvSpPr>
          <p:cNvPr id="14" name="Flèche droite 13"/>
          <p:cNvSpPr/>
          <p:nvPr/>
        </p:nvSpPr>
        <p:spPr>
          <a:xfrm>
            <a:off x="1077532" y="2238160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50215" algn="ctr">
              <a:lnSpc>
                <a:spcPct val="107000"/>
              </a:lnSpc>
              <a:spcBef>
                <a:spcPts val="500"/>
              </a:spcBef>
              <a:spcAft>
                <a:spcPts val="800"/>
              </a:spcAft>
            </a:pPr>
            <a:r>
              <a:rPr lang="fr-FR" dirty="0" smtClean="0"/>
              <a:t>QUALIFIER LES DEMANDES DE VISITES</a:t>
            </a:r>
            <a:endParaRPr lang="fr-FR" dirty="0"/>
          </a:p>
        </p:txBody>
      </p:sp>
      <p:sp>
        <p:nvSpPr>
          <p:cNvPr id="15" name="Flèche droite 14"/>
          <p:cNvSpPr/>
          <p:nvPr/>
        </p:nvSpPr>
        <p:spPr>
          <a:xfrm>
            <a:off x="1077532" y="3312047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50215" algn="ctr">
              <a:lnSpc>
                <a:spcPct val="107000"/>
              </a:lnSpc>
              <a:spcBef>
                <a:spcPts val="500"/>
              </a:spcBef>
              <a:spcAft>
                <a:spcPts val="800"/>
              </a:spcAft>
            </a:pPr>
            <a:r>
              <a:rPr lang="fr-FR" dirty="0" smtClean="0"/>
              <a:t>ORGANISER ET REALISER </a:t>
            </a:r>
            <a:r>
              <a:rPr lang="fr-FR" dirty="0"/>
              <a:t>LES VISITES </a:t>
            </a:r>
            <a:r>
              <a:rPr lang="fr-FR" dirty="0" smtClean="0"/>
              <a:t>EN TELECONSULTATION OU </a:t>
            </a:r>
            <a:r>
              <a:rPr lang="fr-FR" dirty="0"/>
              <a:t>EN PRESENTIEL</a:t>
            </a:r>
          </a:p>
        </p:txBody>
      </p:sp>
      <p:sp>
        <p:nvSpPr>
          <p:cNvPr id="16" name="Flèche droite 15"/>
          <p:cNvSpPr/>
          <p:nvPr/>
        </p:nvSpPr>
        <p:spPr>
          <a:xfrm>
            <a:off x="1077532" y="5459821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>
                <a:solidFill>
                  <a:srgbClr val="FF0000"/>
                </a:solidFill>
              </a:rPr>
              <a:t>REALISER ou PRESCRIRE DES TESTS DE DEPISTAGE EN CAS DE SYMPTOME OU DE CAS CONTACT              DELIVRER DES ARRETS DE TRAVAIL LE CAS ECHEANT*</a:t>
            </a:r>
            <a:endParaRPr lang="fr-FR" dirty="0">
              <a:solidFill>
                <a:srgbClr val="FF0000"/>
              </a:solidFill>
            </a:endParaRPr>
          </a:p>
        </p:txBody>
      </p:sp>
      <p:sp>
        <p:nvSpPr>
          <p:cNvPr id="7" name="Flèche droite 6"/>
          <p:cNvSpPr/>
          <p:nvPr/>
        </p:nvSpPr>
        <p:spPr>
          <a:xfrm>
            <a:off x="1077532" y="4385934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PROPOSER UNE AIDE PSYCHOLOGIQUE EN CAS DE BESOI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72388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/>
          <p:cNvSpPr>
            <a:spLocks noGrp="1"/>
          </p:cNvSpPr>
          <p:nvPr>
            <p:ph type="body" sz="quarter" idx="10"/>
          </p:nvPr>
        </p:nvSpPr>
        <p:spPr>
          <a:xfrm>
            <a:off x="828446" y="89681"/>
            <a:ext cx="9463870" cy="612775"/>
          </a:xfrm>
        </p:spPr>
        <p:txBody>
          <a:bodyPr/>
          <a:lstStyle/>
          <a:p>
            <a:r>
              <a:rPr lang="fr-FR" b="1" dirty="0" smtClean="0">
                <a:solidFill>
                  <a:srgbClr val="C00000"/>
                </a:solidFill>
              </a:rPr>
              <a:t>ASSURER L’ENSEMBLE DES MISSIONS EN LIEN AVEC LE COVID</a:t>
            </a:r>
            <a:endParaRPr lang="fr-FR" b="1" dirty="0">
              <a:solidFill>
                <a:srgbClr val="C00000"/>
              </a:solidFill>
            </a:endParaRPr>
          </a:p>
        </p:txBody>
      </p:sp>
      <p:sp>
        <p:nvSpPr>
          <p:cNvPr id="6" name="Flèche droite 5"/>
          <p:cNvSpPr/>
          <p:nvPr/>
        </p:nvSpPr>
        <p:spPr>
          <a:xfrm>
            <a:off x="1077532" y="1164273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 smtClean="0"/>
              <a:t>ASSURER LA TRACABILITE DE L’ENSEMBLE DES ACTIONS D’ACCOMPAGNEMENT ET DE SUIVI </a:t>
            </a:r>
            <a:endParaRPr lang="fr-FR" dirty="0"/>
          </a:p>
        </p:txBody>
      </p:sp>
      <p:sp>
        <p:nvSpPr>
          <p:cNvPr id="14" name="Flèche droite 13"/>
          <p:cNvSpPr/>
          <p:nvPr/>
        </p:nvSpPr>
        <p:spPr>
          <a:xfrm>
            <a:off x="1077532" y="2238160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50215" algn="ctr">
              <a:lnSpc>
                <a:spcPct val="107000"/>
              </a:lnSpc>
              <a:spcBef>
                <a:spcPts val="500"/>
              </a:spcBef>
              <a:spcAft>
                <a:spcPts val="800"/>
              </a:spcAft>
            </a:pPr>
            <a:r>
              <a:rPr lang="fr-FR" dirty="0" smtClean="0"/>
              <a:t>FAVORISER L’EXPLOITATION DES DONNEES COLLECTEES</a:t>
            </a:r>
            <a:endParaRPr lang="fr-FR" dirty="0"/>
          </a:p>
        </p:txBody>
      </p:sp>
      <p:sp>
        <p:nvSpPr>
          <p:cNvPr id="15" name="Flèche droite 14"/>
          <p:cNvSpPr/>
          <p:nvPr/>
        </p:nvSpPr>
        <p:spPr>
          <a:xfrm>
            <a:off x="1077532" y="3312047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indent="450215" algn="ctr">
              <a:lnSpc>
                <a:spcPct val="107000"/>
              </a:lnSpc>
              <a:spcBef>
                <a:spcPts val="500"/>
              </a:spcBef>
              <a:spcAft>
                <a:spcPts val="800"/>
              </a:spcAft>
            </a:pPr>
            <a:r>
              <a:rPr lang="fr-FR" dirty="0" smtClean="0"/>
              <a:t>PARTICIPER A LA VEILLE SANITAIRE SPECIFIQUE</a:t>
            </a:r>
            <a:endParaRPr lang="fr-FR" dirty="0"/>
          </a:p>
        </p:txBody>
      </p:sp>
      <p:sp>
        <p:nvSpPr>
          <p:cNvPr id="16" name="Flèche droite 15"/>
          <p:cNvSpPr/>
          <p:nvPr/>
        </p:nvSpPr>
        <p:spPr>
          <a:xfrm>
            <a:off x="1077532" y="5459821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dirty="0"/>
              <a:t>ANTICIPER ET PREPARER L’EVALUATION DE L’ACTION PENDANT LA PERIODE DE CRISE SANITAIRE</a:t>
            </a:r>
          </a:p>
        </p:txBody>
      </p:sp>
      <p:sp>
        <p:nvSpPr>
          <p:cNvPr id="7" name="Flèche droite 6"/>
          <p:cNvSpPr/>
          <p:nvPr/>
        </p:nvSpPr>
        <p:spPr>
          <a:xfrm>
            <a:off x="1077532" y="4385934"/>
            <a:ext cx="9441712" cy="103135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u="sng" dirty="0" smtClean="0"/>
              <a:t>PUIS</a:t>
            </a:r>
            <a:r>
              <a:rPr lang="fr-FR" dirty="0" smtClean="0"/>
              <a:t> DECLINAISON DES MISSIONS SUR LES AUTRES RISQUES TRAITES USUELLEMENT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669130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nception personnalisée">
  <a:themeElements>
    <a:clrScheme name="Personnalisée 2">
      <a:dk1>
        <a:srgbClr val="555654"/>
      </a:dk1>
      <a:lt1>
        <a:srgbClr val="FFFFFF"/>
      </a:lt1>
      <a:dk2>
        <a:srgbClr val="019DE2"/>
      </a:dk2>
      <a:lt2>
        <a:srgbClr val="FDFCFF"/>
      </a:lt2>
      <a:accent1>
        <a:srgbClr val="019DE2"/>
      </a:accent1>
      <a:accent2>
        <a:srgbClr val="FFCA03"/>
      </a:accent2>
      <a:accent3>
        <a:srgbClr val="AFCA00"/>
      </a:accent3>
      <a:accent4>
        <a:srgbClr val="FF9500"/>
      </a:accent4>
      <a:accent5>
        <a:srgbClr val="E94E52"/>
      </a:accent5>
      <a:accent6>
        <a:srgbClr val="0E3F93"/>
      </a:accent6>
      <a:hlink>
        <a:srgbClr val="555654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PMP Modèle 16x9 v1">
  <a:themeElements>
    <a:clrScheme name="PMP_Couleurs">
      <a:dk1>
        <a:srgbClr val="323748"/>
      </a:dk1>
      <a:lt1>
        <a:srgbClr val="FFFFFF"/>
      </a:lt1>
      <a:dk2>
        <a:srgbClr val="313647"/>
      </a:dk2>
      <a:lt2>
        <a:srgbClr val="E9E4E3"/>
      </a:lt2>
      <a:accent1>
        <a:srgbClr val="002856"/>
      </a:accent1>
      <a:accent2>
        <a:srgbClr val="59108D"/>
      </a:accent2>
      <a:accent3>
        <a:srgbClr val="EE783C"/>
      </a:accent3>
      <a:accent4>
        <a:srgbClr val="7B7B79"/>
      </a:accent4>
      <a:accent5>
        <a:srgbClr val="8A1775"/>
      </a:accent5>
      <a:accent6>
        <a:srgbClr val="E9E4E3"/>
      </a:accent6>
      <a:hlink>
        <a:srgbClr val="313547"/>
      </a:hlink>
      <a:folHlink>
        <a:srgbClr val="E9E3E2"/>
      </a:folHlink>
    </a:clrScheme>
    <a:fontScheme name="PMP_Polices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 w="6350" cap="flat" cmpd="sng" algn="ctr">
          <a:noFill/>
          <a:prstDash val="solid"/>
          <a:miter lim="800000"/>
        </a:ln>
        <a:effectLst/>
        <a:extLst/>
      </a:spPr>
      <a:bodyPr lIns="36000" tIns="36000" rIns="36000" bIns="36000"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6350">
          <a:noFill/>
        </a:ln>
      </a:spPr>
      <a:bodyPr vert="horz" wrap="square" lIns="36000" tIns="0" rIns="36000" bIns="0" rtlCol="0">
        <a:spAutoFit/>
      </a:bodyPr>
      <a:lstStyle>
        <a:defPPr algn="l">
          <a:spcBef>
            <a:spcPts val="0"/>
          </a:spcBef>
          <a:defRPr sz="1000" dirty="0" err="1" smtClean="0"/>
        </a:defPPr>
      </a:lstStyle>
    </a:txDef>
  </a:objectDefaults>
  <a:extraClrSchemeLst/>
  <a:custClrLst>
    <a:custClr name="Ocean">
      <a:srgbClr val="31B7BC"/>
    </a:custClr>
    <a:custClr name="Ocean 75%">
      <a:srgbClr val="65C9CD"/>
    </a:custClr>
    <a:custClr name="Ocean 50%">
      <a:srgbClr val="98DBDE"/>
    </a:custClr>
    <a:custClr name="Poppy">
      <a:srgbClr val="E94F35"/>
    </a:custClr>
    <a:custClr name="Poppy 75%">
      <a:srgbClr val="EF7B68"/>
    </a:custClr>
    <a:custClr name="Poppy 50%">
      <a:srgbClr val="F4A79A"/>
    </a:custClr>
    <a:custClr name="Sun">
      <a:srgbClr val="F39200"/>
    </a:custClr>
    <a:custClr name="Sun 75%">
      <a:srgbClr val="F6AD40"/>
    </a:custClr>
    <a:custClr name="Sun 50%">
      <a:srgbClr val="F9C980"/>
    </a:custClr>
    <a:custClr name="Grass">
      <a:srgbClr val="94B654"/>
    </a:custClr>
    <a:custClr name="Grass 75%">
      <a:srgbClr val="AFC87F"/>
    </a:custClr>
    <a:custClr name="Grass 50%">
      <a:srgbClr val="CADBAA"/>
    </a:custClr>
  </a:custClrLst>
  <a:extLst>
    <a:ext uri="{05A4C25C-085E-4340-85A3-A5531E510DB2}">
      <thm15:themeFamily xmlns:thm15="http://schemas.microsoft.com/office/thememl/2012/main" name="CRPMP Modèle 16x9 v1 26.11.18 evo.potx" id="{CE4C220C-5201-4B5B-9EFB-64949A13D42D}" vid="{EE1DE605-18C5-4F6C-9129-91FBAD8EF0D7}"/>
    </a:ext>
  </a:extLst>
</a:theme>
</file>

<file path=ppt/theme/theme3.xml><?xml version="1.0" encoding="utf-8"?>
<a:theme xmlns:a="http://schemas.openxmlformats.org/drawingml/2006/main" name="1_Conception personnalisée">
  <a:themeElements>
    <a:clrScheme name="Personnalisée 2">
      <a:dk1>
        <a:srgbClr val="555654"/>
      </a:dk1>
      <a:lt1>
        <a:srgbClr val="FFFFFF"/>
      </a:lt1>
      <a:dk2>
        <a:srgbClr val="019DE2"/>
      </a:dk2>
      <a:lt2>
        <a:srgbClr val="FDFCFF"/>
      </a:lt2>
      <a:accent1>
        <a:srgbClr val="019DE2"/>
      </a:accent1>
      <a:accent2>
        <a:srgbClr val="FFCA03"/>
      </a:accent2>
      <a:accent3>
        <a:srgbClr val="AFCA00"/>
      </a:accent3>
      <a:accent4>
        <a:srgbClr val="FF9500"/>
      </a:accent4>
      <a:accent5>
        <a:srgbClr val="E94E52"/>
      </a:accent5>
      <a:accent6>
        <a:srgbClr val="0E3F93"/>
      </a:accent6>
      <a:hlink>
        <a:srgbClr val="555654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2_Conception personnalisée">
  <a:themeElements>
    <a:clrScheme name="Personnalisée 2">
      <a:dk1>
        <a:srgbClr val="555654"/>
      </a:dk1>
      <a:lt1>
        <a:srgbClr val="FFFFFF"/>
      </a:lt1>
      <a:dk2>
        <a:srgbClr val="019DE2"/>
      </a:dk2>
      <a:lt2>
        <a:srgbClr val="FDFCFF"/>
      </a:lt2>
      <a:accent1>
        <a:srgbClr val="019DE2"/>
      </a:accent1>
      <a:accent2>
        <a:srgbClr val="FFCA03"/>
      </a:accent2>
      <a:accent3>
        <a:srgbClr val="AFCA00"/>
      </a:accent3>
      <a:accent4>
        <a:srgbClr val="FF9500"/>
      </a:accent4>
      <a:accent5>
        <a:srgbClr val="E94E52"/>
      </a:accent5>
      <a:accent6>
        <a:srgbClr val="0E3F93"/>
      </a:accent6>
      <a:hlink>
        <a:srgbClr val="555654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3_Conception personnalisée">
  <a:themeElements>
    <a:clrScheme name="Personnalisée 2">
      <a:dk1>
        <a:srgbClr val="555654"/>
      </a:dk1>
      <a:lt1>
        <a:srgbClr val="FFFFFF"/>
      </a:lt1>
      <a:dk2>
        <a:srgbClr val="019DE2"/>
      </a:dk2>
      <a:lt2>
        <a:srgbClr val="FDFCFF"/>
      </a:lt2>
      <a:accent1>
        <a:srgbClr val="019DE2"/>
      </a:accent1>
      <a:accent2>
        <a:srgbClr val="FFCA03"/>
      </a:accent2>
      <a:accent3>
        <a:srgbClr val="AFCA00"/>
      </a:accent3>
      <a:accent4>
        <a:srgbClr val="FF9500"/>
      </a:accent4>
      <a:accent5>
        <a:srgbClr val="E94E52"/>
      </a:accent5>
      <a:accent6>
        <a:srgbClr val="0E3F93"/>
      </a:accent6>
      <a:hlink>
        <a:srgbClr val="555654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Thème Office">
  <a:themeElements>
    <a:clrScheme name="Bureau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Bureau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Bureau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81</TotalTime>
  <Words>571</Words>
  <Application>Microsoft Office PowerPoint</Application>
  <PresentationFormat>Grand écran</PresentationFormat>
  <Paragraphs>88</Paragraphs>
  <Slides>7</Slides>
  <Notes>7</Notes>
  <HiddenSlides>0</HiddenSlides>
  <MMClips>0</MMClips>
  <ScaleCrop>false</ScaleCrop>
  <HeadingPairs>
    <vt:vector size="8" baseType="variant">
      <vt:variant>
        <vt:lpstr>Polices utilisées</vt:lpstr>
      </vt:variant>
      <vt:variant>
        <vt:i4>13</vt:i4>
      </vt:variant>
      <vt:variant>
        <vt:lpstr>Thème</vt:lpstr>
      </vt:variant>
      <vt:variant>
        <vt:i4>5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7</vt:i4>
      </vt:variant>
    </vt:vector>
  </HeadingPairs>
  <TitlesOfParts>
    <vt:vector size="26" baseType="lpstr">
      <vt:lpstr>MS PGothic</vt:lpstr>
      <vt:lpstr>Arial</vt:lpstr>
      <vt:lpstr>Arial  </vt:lpstr>
      <vt:lpstr>Calibri</vt:lpstr>
      <vt:lpstr>Calibri Light</vt:lpstr>
      <vt:lpstr>Helvetica</vt:lpstr>
      <vt:lpstr>Mangal</vt:lpstr>
      <vt:lpstr>Montserrat</vt:lpstr>
      <vt:lpstr>Open Sans</vt:lpstr>
      <vt:lpstr>Segoe UI</vt:lpstr>
      <vt:lpstr>Segoe UI Light</vt:lpstr>
      <vt:lpstr>Symbol</vt:lpstr>
      <vt:lpstr>Wingdings</vt:lpstr>
      <vt:lpstr>Conception personnalisée</vt:lpstr>
      <vt:lpstr>PMP Modèle 16x9 v1</vt:lpstr>
      <vt:lpstr>1_Conception personnalisée</vt:lpstr>
      <vt:lpstr>2_Conception personnalisée</vt:lpstr>
      <vt:lpstr>3_Conception personnalisé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Utilisateur de Microsoft Office</dc:creator>
  <cp:lastModifiedBy>Brun</cp:lastModifiedBy>
  <cp:revision>278</cp:revision>
  <dcterms:created xsi:type="dcterms:W3CDTF">2017-12-23T18:07:09Z</dcterms:created>
  <dcterms:modified xsi:type="dcterms:W3CDTF">2020-05-20T20:20:54Z</dcterms:modified>
</cp:coreProperties>
</file>